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6" r:id="rId4"/>
    <p:sldMasterId id="2147483715" r:id="rId5"/>
  </p:sldMasterIdLst>
  <p:notesMasterIdLst>
    <p:notesMasterId r:id="rId13"/>
  </p:notesMasterIdLst>
  <p:sldIdLst>
    <p:sldId id="257" r:id="rId6"/>
    <p:sldId id="258" r:id="rId7"/>
    <p:sldId id="277" r:id="rId8"/>
    <p:sldId id="2147471194" r:id="rId9"/>
    <p:sldId id="2147471192" r:id="rId10"/>
    <p:sldId id="2147471213" r:id="rId11"/>
    <p:sldId id="2147471191" r:id="rId12"/>
  </p:sldIdLst>
  <p:sldSz cx="12192000" cy="6858000"/>
  <p:notesSz cx="6858000" cy="9144000"/>
  <p:embeddedFontLst>
    <p:embeddedFont>
      <p:font typeface="Avenir Next LT Pro" panose="020B0504020202020204" pitchFamily="34" charset="0"/>
      <p:regular r:id="rId14"/>
      <p:bold r:id="rId15"/>
      <p:italic r:id="rId16"/>
      <p:boldItalic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4" roundtripDataSignature="AMtx7mjy8hKZ+WR3aYCOI7rdHAahLgp+U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507B7D-5FA7-404E-AE0F-1077A325DA1A}" v="235" dt="2023-06-22T18:45:58.714"/>
  </p1510:revLst>
</p1510:revInfo>
</file>

<file path=ppt/tableStyles.xml><?xml version="1.0" encoding="utf-8"?>
<a:tblStyleLst xmlns:a="http://schemas.openxmlformats.org/drawingml/2006/main" def="{C76B1817-0BF9-42D7-B85B-95868AF1B3EB}">
  <a:tblStyle styleId="{C76B1817-0BF9-42D7-B85B-95868AF1B3EB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8F1E6"/>
          </a:solidFill>
        </a:fill>
      </a:tcStyle>
    </a:wholeTbl>
    <a:band1H>
      <a:tcTxStyle/>
      <a:tcStyle>
        <a:tcBdr/>
        <a:fill>
          <a:solidFill>
            <a:srgbClr val="F1E1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1E1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7F06C91-682C-4FC0-8D3D-84AE66AF42CC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8F1E6"/>
          </a:solidFill>
        </a:fill>
      </a:tcStyle>
    </a:wholeTbl>
    <a:band1H>
      <a:tcTxStyle b="off" i="off"/>
      <a:tcStyle>
        <a:tcBdr/>
        <a:fill>
          <a:solidFill>
            <a:srgbClr val="F1E1CA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F1E1CA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92A46587-7DBE-4889-A4E1-644C240AC93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581" y="7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39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34" Type="http://customschemas.google.com/relationships/presentationmetadata" Target="meta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4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35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e Lingebach" userId="8345a2a5-a067-4759-8441-be0dd7848035" providerId="ADAL" clId="{5FDAA419-49B5-4462-97F9-68CB07D69361}"/>
    <pc:docChg chg="custSel modSld replTag">
      <pc:chgData name="Dave Lingebach" userId="8345a2a5-a067-4759-8441-be0dd7848035" providerId="ADAL" clId="{5FDAA419-49B5-4462-97F9-68CB07D69361}" dt="2023-05-26T14:19:55.483" v="61"/>
      <pc:docMkLst>
        <pc:docMk/>
      </pc:docMkLst>
      <pc:sldChg chg="addSp delSp modSp mod">
        <pc:chgData name="Dave Lingebach" userId="8345a2a5-a067-4759-8441-be0dd7848035" providerId="ADAL" clId="{5FDAA419-49B5-4462-97F9-68CB07D69361}" dt="2023-05-26T14:19:55.483" v="61"/>
        <pc:sldMkLst>
          <pc:docMk/>
          <pc:sldMk cId="1906600233" sldId="257"/>
        </pc:sldMkLst>
        <pc:spChg chg="mod">
          <ac:chgData name="Dave Lingebach" userId="8345a2a5-a067-4759-8441-be0dd7848035" providerId="ADAL" clId="{5FDAA419-49B5-4462-97F9-68CB07D69361}" dt="2023-05-26T14:19:55.454" v="35" actId="948"/>
          <ac:spMkLst>
            <pc:docMk/>
            <pc:sldMk cId="1906600233" sldId="257"/>
            <ac:spMk id="2" creationId="{D2592C9A-2923-003D-E7DB-2FC9C158B534}"/>
          </ac:spMkLst>
        </pc:spChg>
        <pc:spChg chg="add del mod modVis">
          <ac:chgData name="Dave Lingebach" userId="8345a2a5-a067-4759-8441-be0dd7848035" providerId="ADAL" clId="{5FDAA419-49B5-4462-97F9-68CB07D69361}" dt="2023-05-26T14:19:49.371" v="25"/>
          <ac:spMkLst>
            <pc:docMk/>
            <pc:sldMk cId="1906600233" sldId="257"/>
            <ac:spMk id="11" creationId="{DF753542-CA06-683E-7971-8217772DA75A}"/>
          </ac:spMkLst>
        </pc:spChg>
        <pc:spChg chg="add del mod modVis">
          <ac:chgData name="Dave Lingebach" userId="8345a2a5-a067-4759-8441-be0dd7848035" providerId="ADAL" clId="{5FDAA419-49B5-4462-97F9-68CB07D69361}" dt="2023-05-26T14:19:55.481" v="59"/>
          <ac:spMkLst>
            <pc:docMk/>
            <pc:sldMk cId="1906600233" sldId="257"/>
            <ac:spMk id="12" creationId="{BC342CDE-54D2-4F60-40A2-B42D6EB786BA}"/>
          </ac:spMkLst>
        </pc:spChg>
        <pc:graphicFrameChg chg="mod">
          <ac:chgData name="Dave Lingebach" userId="8345a2a5-a067-4759-8441-be0dd7848035" providerId="ADAL" clId="{5FDAA419-49B5-4462-97F9-68CB07D69361}" dt="2023-05-26T14:19:55.483" v="61"/>
          <ac:graphicFrameMkLst>
            <pc:docMk/>
            <pc:sldMk cId="1906600233" sldId="257"/>
            <ac:graphicFrameMk id="5" creationId="{2ABE25E8-B4A0-CAA0-D833-DEAC6A217AA5}"/>
          </ac:graphicFrameMkLst>
        </pc:graphicFrameChg>
      </pc:sldChg>
    </pc:docChg>
  </pc:docChgLst>
  <pc:docChgLst>
    <pc:chgData name="Dave Lingebach" userId="8345a2a5-a067-4759-8441-be0dd7848035" providerId="ADAL" clId="{B9507B7D-5FA7-404E-AE0F-1077A325DA1A}"/>
    <pc:docChg chg="undo redo custSel addSld delSld modSld sldOrd replTag">
      <pc:chgData name="Dave Lingebach" userId="8345a2a5-a067-4759-8441-be0dd7848035" providerId="ADAL" clId="{B9507B7D-5FA7-404E-AE0F-1077A325DA1A}" dt="2023-06-22T18:45:58.714" v="3838"/>
      <pc:docMkLst>
        <pc:docMk/>
      </pc:docMkLst>
      <pc:sldChg chg="addSp delSp modSp new add mod">
        <pc:chgData name="Dave Lingebach" userId="8345a2a5-a067-4759-8441-be0dd7848035" providerId="ADAL" clId="{B9507B7D-5FA7-404E-AE0F-1077A325DA1A}" dt="2023-06-22T18:45:58.714" v="3838"/>
        <pc:sldMkLst>
          <pc:docMk/>
          <pc:sldMk cId="1211137973" sldId="258"/>
        </pc:sldMkLst>
        <pc:spChg chg="mod">
          <ac:chgData name="Dave Lingebach" userId="8345a2a5-a067-4759-8441-be0dd7848035" providerId="ADAL" clId="{B9507B7D-5FA7-404E-AE0F-1077A325DA1A}" dt="2023-06-22T18:45:58.714" v="3836" actId="20577"/>
          <ac:spMkLst>
            <pc:docMk/>
            <pc:sldMk cId="1211137973" sldId="258"/>
            <ac:spMk id="2" creationId="{AFD83229-74C2-ECFE-1EFD-DBF99993F33F}"/>
          </ac:spMkLst>
        </pc:spChg>
        <pc:spChg chg="add del mod">
          <ac:chgData name="Dave Lingebach" userId="8345a2a5-a067-4759-8441-be0dd7848035" providerId="ADAL" clId="{B9507B7D-5FA7-404E-AE0F-1077A325DA1A}" dt="2023-06-21T21:37:21.146" v="192"/>
          <ac:spMkLst>
            <pc:docMk/>
            <pc:sldMk cId="1211137973" sldId="258"/>
            <ac:spMk id="3" creationId="{4544957B-CD4C-BA14-B297-0DF22E0591EB}"/>
          </ac:spMkLst>
        </pc:spChg>
        <pc:spChg chg="add del mod modVis">
          <ac:chgData name="Dave Lingebach" userId="8345a2a5-a067-4759-8441-be0dd7848035" providerId="ADAL" clId="{B9507B7D-5FA7-404E-AE0F-1077A325DA1A}" dt="2023-06-22T18:45:58.714" v="3834" actId="962"/>
          <ac:spMkLst>
            <pc:docMk/>
            <pc:sldMk cId="1211137973" sldId="258"/>
            <ac:spMk id="3" creationId="{F5A46C74-3FB4-7D23-D4FC-9C7917E30A05}"/>
          </ac:spMkLst>
        </pc:spChg>
        <pc:spChg chg="add del mod modVis">
          <ac:chgData name="Dave Lingebach" userId="8345a2a5-a067-4759-8441-be0dd7848035" providerId="ADAL" clId="{B9507B7D-5FA7-404E-AE0F-1077A325DA1A}" dt="2023-06-21T21:45:31.722" v="946"/>
          <ac:spMkLst>
            <pc:docMk/>
            <pc:sldMk cId="1211137973" sldId="258"/>
            <ac:spMk id="4" creationId="{AF5A3CCD-AA5B-DC77-7C8C-A858A39D956F}"/>
          </ac:spMkLst>
        </pc:spChg>
        <pc:spChg chg="add del mod modVis">
          <ac:chgData name="Dave Lingebach" userId="8345a2a5-a067-4759-8441-be0dd7848035" providerId="ADAL" clId="{B9507B7D-5FA7-404E-AE0F-1077A325DA1A}" dt="2023-06-21T21:45:34.862" v="988"/>
          <ac:spMkLst>
            <pc:docMk/>
            <pc:sldMk cId="1211137973" sldId="258"/>
            <ac:spMk id="6" creationId="{6F955D85-389B-E306-49E2-1695D7F2BBD9}"/>
          </ac:spMkLst>
        </pc:spChg>
        <pc:spChg chg="add del mod modVis">
          <ac:chgData name="Dave Lingebach" userId="8345a2a5-a067-4759-8441-be0dd7848035" providerId="ADAL" clId="{B9507B7D-5FA7-404E-AE0F-1077A325DA1A}" dt="2023-06-21T21:45:35.879" v="1017"/>
          <ac:spMkLst>
            <pc:docMk/>
            <pc:sldMk cId="1211137973" sldId="258"/>
            <ac:spMk id="7" creationId="{12236082-704E-691F-7BEE-0CF31B0B2322}"/>
          </ac:spMkLst>
        </pc:spChg>
        <pc:spChg chg="add del mod modVis">
          <ac:chgData name="Dave Lingebach" userId="8345a2a5-a067-4759-8441-be0dd7848035" providerId="ADAL" clId="{B9507B7D-5FA7-404E-AE0F-1077A325DA1A}" dt="2023-06-21T21:46:36.740" v="1120"/>
          <ac:spMkLst>
            <pc:docMk/>
            <pc:sldMk cId="1211137973" sldId="258"/>
            <ac:spMk id="8" creationId="{3B13C946-65EC-E845-0054-B1AB59C20EED}"/>
          </ac:spMkLst>
        </pc:spChg>
        <pc:spChg chg="add del mod modVis">
          <ac:chgData name="Dave Lingebach" userId="8345a2a5-a067-4759-8441-be0dd7848035" providerId="ADAL" clId="{B9507B7D-5FA7-404E-AE0F-1077A325DA1A}" dt="2023-06-21T21:47:04.243" v="1165"/>
          <ac:spMkLst>
            <pc:docMk/>
            <pc:sldMk cId="1211137973" sldId="258"/>
            <ac:spMk id="9" creationId="{A5BC5D39-B3DD-88E9-AFF2-3AC0F6599122}"/>
          </ac:spMkLst>
        </pc:spChg>
        <pc:spChg chg="add del mod modVis">
          <ac:chgData name="Dave Lingebach" userId="8345a2a5-a067-4759-8441-be0dd7848035" providerId="ADAL" clId="{B9507B7D-5FA7-404E-AE0F-1077A325DA1A}" dt="2023-06-21T21:47:06.335" v="1202"/>
          <ac:spMkLst>
            <pc:docMk/>
            <pc:sldMk cId="1211137973" sldId="258"/>
            <ac:spMk id="10" creationId="{11594AD2-E1DE-9897-1F7B-6088AFB029E5}"/>
          </ac:spMkLst>
        </pc:spChg>
        <pc:spChg chg="add del mod modVis">
          <ac:chgData name="Dave Lingebach" userId="8345a2a5-a067-4759-8441-be0dd7848035" providerId="ADAL" clId="{B9507B7D-5FA7-404E-AE0F-1077A325DA1A}" dt="2023-06-21T21:47:09.295" v="1233"/>
          <ac:spMkLst>
            <pc:docMk/>
            <pc:sldMk cId="1211137973" sldId="258"/>
            <ac:spMk id="11" creationId="{23FDC654-BB48-DAF8-FE0C-00209AB58852}"/>
          </ac:spMkLst>
        </pc:spChg>
        <pc:spChg chg="add del mod modVis">
          <ac:chgData name="Dave Lingebach" userId="8345a2a5-a067-4759-8441-be0dd7848035" providerId="ADAL" clId="{B9507B7D-5FA7-404E-AE0F-1077A325DA1A}" dt="2023-06-21T21:47:10.098" v="1263"/>
          <ac:spMkLst>
            <pc:docMk/>
            <pc:sldMk cId="1211137973" sldId="258"/>
            <ac:spMk id="12" creationId="{3D42ED63-3E49-30C8-679B-D3620B355070}"/>
          </ac:spMkLst>
        </pc:spChg>
        <pc:spChg chg="add del mod modVis">
          <ac:chgData name="Dave Lingebach" userId="8345a2a5-a067-4759-8441-be0dd7848035" providerId="ADAL" clId="{B9507B7D-5FA7-404E-AE0F-1077A325DA1A}" dt="2023-06-21T21:47:12.499" v="1299"/>
          <ac:spMkLst>
            <pc:docMk/>
            <pc:sldMk cId="1211137973" sldId="258"/>
            <ac:spMk id="13" creationId="{575A01AC-B1CC-F017-360F-5B24B0B7155E}"/>
          </ac:spMkLst>
        </pc:spChg>
        <pc:spChg chg="add mod">
          <ac:chgData name="Dave Lingebach" userId="8345a2a5-a067-4759-8441-be0dd7848035" providerId="ADAL" clId="{B9507B7D-5FA7-404E-AE0F-1077A325DA1A}" dt="2023-06-21T22:11:48.832" v="3738" actId="20577"/>
          <ac:spMkLst>
            <pc:docMk/>
            <pc:sldMk cId="1211137973" sldId="258"/>
            <ac:spMk id="14" creationId="{C335A060-28DD-F83D-678E-B27330891DCF}"/>
          </ac:spMkLst>
        </pc:spChg>
        <pc:spChg chg="add del mod">
          <ac:chgData name="Dave Lingebach" userId="8345a2a5-a067-4759-8441-be0dd7848035" providerId="ADAL" clId="{B9507B7D-5FA7-404E-AE0F-1077A325DA1A}" dt="2023-06-21T21:50:47.597" v="1771" actId="478"/>
          <ac:spMkLst>
            <pc:docMk/>
            <pc:sldMk cId="1211137973" sldId="258"/>
            <ac:spMk id="15" creationId="{D332B68D-0D97-BCED-9387-359B0215ED65}"/>
          </ac:spMkLst>
        </pc:spChg>
        <pc:spChg chg="add del mod modVis">
          <ac:chgData name="Dave Lingebach" userId="8345a2a5-a067-4759-8441-be0dd7848035" providerId="ADAL" clId="{B9507B7D-5FA7-404E-AE0F-1077A325DA1A}" dt="2023-06-21T21:51:29.786" v="1811"/>
          <ac:spMkLst>
            <pc:docMk/>
            <pc:sldMk cId="1211137973" sldId="258"/>
            <ac:spMk id="16" creationId="{6C0F962C-C083-5976-C47E-3EA9FC33B33F}"/>
          </ac:spMkLst>
        </pc:spChg>
        <pc:spChg chg="add del mod modVis">
          <ac:chgData name="Dave Lingebach" userId="8345a2a5-a067-4759-8441-be0dd7848035" providerId="ADAL" clId="{B9507B7D-5FA7-404E-AE0F-1077A325DA1A}" dt="2023-06-21T21:51:31.367" v="1844"/>
          <ac:spMkLst>
            <pc:docMk/>
            <pc:sldMk cId="1211137973" sldId="258"/>
            <ac:spMk id="17" creationId="{1D6AA92F-7CE6-2223-444B-881F465DE93E}"/>
          </ac:spMkLst>
        </pc:spChg>
        <pc:spChg chg="add del mod modVis">
          <ac:chgData name="Dave Lingebach" userId="8345a2a5-a067-4759-8441-be0dd7848035" providerId="ADAL" clId="{B9507B7D-5FA7-404E-AE0F-1077A325DA1A}" dt="2023-06-21T21:51:33.711" v="1874"/>
          <ac:spMkLst>
            <pc:docMk/>
            <pc:sldMk cId="1211137973" sldId="258"/>
            <ac:spMk id="18" creationId="{A884857D-679D-3548-B02E-150611860019}"/>
          </ac:spMkLst>
        </pc:spChg>
        <pc:spChg chg="add del mod modVis">
          <ac:chgData name="Dave Lingebach" userId="8345a2a5-a067-4759-8441-be0dd7848035" providerId="ADAL" clId="{B9507B7D-5FA7-404E-AE0F-1077A325DA1A}" dt="2023-06-21T21:51:34.514" v="1902"/>
          <ac:spMkLst>
            <pc:docMk/>
            <pc:sldMk cId="1211137973" sldId="258"/>
            <ac:spMk id="19" creationId="{96BF469C-197F-5C0E-7342-4697EAA5AAB1}"/>
          </ac:spMkLst>
        </pc:spChg>
        <pc:spChg chg="add del mod modVis">
          <ac:chgData name="Dave Lingebach" userId="8345a2a5-a067-4759-8441-be0dd7848035" providerId="ADAL" clId="{B9507B7D-5FA7-404E-AE0F-1077A325DA1A}" dt="2023-06-21T21:51:38.925" v="1944"/>
          <ac:spMkLst>
            <pc:docMk/>
            <pc:sldMk cId="1211137973" sldId="258"/>
            <ac:spMk id="20" creationId="{D6E88CE2-3855-E4A7-B129-0C83C5DD8B8B}"/>
          </ac:spMkLst>
        </pc:spChg>
        <pc:spChg chg="add del mod modVis">
          <ac:chgData name="Dave Lingebach" userId="8345a2a5-a067-4759-8441-be0dd7848035" providerId="ADAL" clId="{B9507B7D-5FA7-404E-AE0F-1077A325DA1A}" dt="2023-06-21T21:51:43.886" v="1982"/>
          <ac:spMkLst>
            <pc:docMk/>
            <pc:sldMk cId="1211137973" sldId="258"/>
            <ac:spMk id="21" creationId="{A3B2FD51-DB40-0EE6-4DFF-1AD821F573DF}"/>
          </ac:spMkLst>
        </pc:spChg>
        <pc:spChg chg="add del mod modVis">
          <ac:chgData name="Dave Lingebach" userId="8345a2a5-a067-4759-8441-be0dd7848035" providerId="ADAL" clId="{B9507B7D-5FA7-404E-AE0F-1077A325DA1A}" dt="2023-06-21T21:51:46.978" v="2020"/>
          <ac:spMkLst>
            <pc:docMk/>
            <pc:sldMk cId="1211137973" sldId="258"/>
            <ac:spMk id="22" creationId="{4AF70031-0F2F-AA79-0F43-5251E110D5AC}"/>
          </ac:spMkLst>
        </pc:spChg>
        <pc:spChg chg="add del mod modVis">
          <ac:chgData name="Dave Lingebach" userId="8345a2a5-a067-4759-8441-be0dd7848035" providerId="ADAL" clId="{B9507B7D-5FA7-404E-AE0F-1077A325DA1A}" dt="2023-06-21T21:51:48.019" v="2052"/>
          <ac:spMkLst>
            <pc:docMk/>
            <pc:sldMk cId="1211137973" sldId="258"/>
            <ac:spMk id="23" creationId="{EF295414-4F27-6912-EED9-0A145858310D}"/>
          </ac:spMkLst>
        </pc:spChg>
        <pc:spChg chg="add del mod modVis">
          <ac:chgData name="Dave Lingebach" userId="8345a2a5-a067-4759-8441-be0dd7848035" providerId="ADAL" clId="{B9507B7D-5FA7-404E-AE0F-1077A325DA1A}" dt="2023-06-21T21:51:48.921" v="2084"/>
          <ac:spMkLst>
            <pc:docMk/>
            <pc:sldMk cId="1211137973" sldId="258"/>
            <ac:spMk id="24" creationId="{BC247BD7-3F46-966C-C191-E708A8F628F0}"/>
          </ac:spMkLst>
        </pc:spChg>
        <pc:spChg chg="add del mod modVis">
          <ac:chgData name="Dave Lingebach" userId="8345a2a5-a067-4759-8441-be0dd7848035" providerId="ADAL" clId="{B9507B7D-5FA7-404E-AE0F-1077A325DA1A}" dt="2023-06-21T21:51:50.924" v="2120"/>
          <ac:spMkLst>
            <pc:docMk/>
            <pc:sldMk cId="1211137973" sldId="258"/>
            <ac:spMk id="25" creationId="{66C0999C-81AB-8C88-2A75-D9423A7ADEF5}"/>
          </ac:spMkLst>
        </pc:spChg>
        <pc:spChg chg="add del mod modVis">
          <ac:chgData name="Dave Lingebach" userId="8345a2a5-a067-4759-8441-be0dd7848035" providerId="ADAL" clId="{B9507B7D-5FA7-404E-AE0F-1077A325DA1A}" dt="2023-06-21T21:51:55.934" v="2177"/>
          <ac:spMkLst>
            <pc:docMk/>
            <pc:sldMk cId="1211137973" sldId="258"/>
            <ac:spMk id="26" creationId="{63B08B92-6C34-EC45-0B0E-4A84C5524511}"/>
          </ac:spMkLst>
        </pc:spChg>
        <pc:spChg chg="add del mod modVis">
          <ac:chgData name="Dave Lingebach" userId="8345a2a5-a067-4759-8441-be0dd7848035" providerId="ADAL" clId="{B9507B7D-5FA7-404E-AE0F-1077A325DA1A}" dt="2023-06-21T21:51:57.216" v="2205"/>
          <ac:spMkLst>
            <pc:docMk/>
            <pc:sldMk cId="1211137973" sldId="258"/>
            <ac:spMk id="27" creationId="{76E4EFB4-F826-72D5-3DEE-510D3441FF65}"/>
          </ac:spMkLst>
        </pc:spChg>
        <pc:spChg chg="add del mod modVis">
          <ac:chgData name="Dave Lingebach" userId="8345a2a5-a067-4759-8441-be0dd7848035" providerId="ADAL" clId="{B9507B7D-5FA7-404E-AE0F-1077A325DA1A}" dt="2023-06-21T21:51:58.103" v="2235"/>
          <ac:spMkLst>
            <pc:docMk/>
            <pc:sldMk cId="1211137973" sldId="258"/>
            <ac:spMk id="28" creationId="{C215D16E-4C1C-1099-1F25-9D66891645D0}"/>
          </ac:spMkLst>
        </pc:spChg>
        <pc:spChg chg="add del mod modVis">
          <ac:chgData name="Dave Lingebach" userId="8345a2a5-a067-4759-8441-be0dd7848035" providerId="ADAL" clId="{B9507B7D-5FA7-404E-AE0F-1077A325DA1A}" dt="2023-06-21T21:51:59.523" v="2267"/>
          <ac:spMkLst>
            <pc:docMk/>
            <pc:sldMk cId="1211137973" sldId="258"/>
            <ac:spMk id="29" creationId="{4345DD92-EF4C-D39B-303A-148A0473CF71}"/>
          </ac:spMkLst>
        </pc:spChg>
        <pc:spChg chg="add del mod modVis">
          <ac:chgData name="Dave Lingebach" userId="8345a2a5-a067-4759-8441-be0dd7848035" providerId="ADAL" clId="{B9507B7D-5FA7-404E-AE0F-1077A325DA1A}" dt="2023-06-21T21:52:03.287" v="2296"/>
          <ac:spMkLst>
            <pc:docMk/>
            <pc:sldMk cId="1211137973" sldId="258"/>
            <ac:spMk id="30" creationId="{948C4985-0F9B-BCA7-07EC-AE8DA5310BE8}"/>
          </ac:spMkLst>
        </pc:spChg>
        <pc:spChg chg="add del mod modVis">
          <ac:chgData name="Dave Lingebach" userId="8345a2a5-a067-4759-8441-be0dd7848035" providerId="ADAL" clId="{B9507B7D-5FA7-404E-AE0F-1077A325DA1A}" dt="2023-06-21T21:52:05.826" v="2325"/>
          <ac:spMkLst>
            <pc:docMk/>
            <pc:sldMk cId="1211137973" sldId="258"/>
            <ac:spMk id="31" creationId="{30CC4947-95D6-2744-B69E-CAFEA5F0C993}"/>
          </ac:spMkLst>
        </pc:spChg>
        <pc:spChg chg="add del mod modVis">
          <ac:chgData name="Dave Lingebach" userId="8345a2a5-a067-4759-8441-be0dd7848035" providerId="ADAL" clId="{B9507B7D-5FA7-404E-AE0F-1077A325DA1A}" dt="2023-06-21T21:52:07.768" v="2354"/>
          <ac:spMkLst>
            <pc:docMk/>
            <pc:sldMk cId="1211137973" sldId="258"/>
            <ac:spMk id="32" creationId="{4D8224FB-4AB8-AB90-701C-8BC902DCD637}"/>
          </ac:spMkLst>
        </pc:spChg>
        <pc:spChg chg="add del mod modVis">
          <ac:chgData name="Dave Lingebach" userId="8345a2a5-a067-4759-8441-be0dd7848035" providerId="ADAL" clId="{B9507B7D-5FA7-404E-AE0F-1077A325DA1A}" dt="2023-06-21T21:52:10.831" v="2382"/>
          <ac:spMkLst>
            <pc:docMk/>
            <pc:sldMk cId="1211137973" sldId="258"/>
            <ac:spMk id="33" creationId="{6516FA37-16D5-C159-6978-CE1BCF676F2F}"/>
          </ac:spMkLst>
        </pc:spChg>
        <pc:spChg chg="add del mod modVis">
          <ac:chgData name="Dave Lingebach" userId="8345a2a5-a067-4759-8441-be0dd7848035" providerId="ADAL" clId="{B9507B7D-5FA7-404E-AE0F-1077A325DA1A}" dt="2023-06-21T22:13:13.673" v="3780"/>
          <ac:spMkLst>
            <pc:docMk/>
            <pc:sldMk cId="1211137973" sldId="258"/>
            <ac:spMk id="34" creationId="{EB7DEFE1-533C-CB10-63CA-BA205787D936}"/>
          </ac:spMkLst>
        </pc:spChg>
        <pc:graphicFrameChg chg="add mod ord modVis replST">
          <ac:chgData name="Dave Lingebach" userId="8345a2a5-a067-4759-8441-be0dd7848035" providerId="ADAL" clId="{B9507B7D-5FA7-404E-AE0F-1077A325DA1A}" dt="2023-06-22T18:45:58.714" v="3838"/>
          <ac:graphicFrameMkLst>
            <pc:docMk/>
            <pc:sldMk cId="1211137973" sldId="258"/>
            <ac:graphicFrameMk id="5" creationId="{68B76DD4-F6D2-6791-F9A0-26A9043F19DF}"/>
          </ac:graphicFrameMkLst>
        </pc:graphicFrameChg>
      </pc:sldChg>
      <pc:sldChg chg="new add del">
        <pc:chgData name="Dave Lingebach" userId="8345a2a5-a067-4759-8441-be0dd7848035" providerId="ADAL" clId="{B9507B7D-5FA7-404E-AE0F-1077A325DA1A}" dt="2023-06-21T21:36:45.651" v="185" actId="680"/>
        <pc:sldMkLst>
          <pc:docMk/>
          <pc:sldMk cId="3235960137" sldId="258"/>
        </pc:sldMkLst>
      </pc:sldChg>
      <pc:sldChg chg="addSp delSp modSp del mod">
        <pc:chgData name="Dave Lingebach" userId="8345a2a5-a067-4759-8441-be0dd7848035" providerId="ADAL" clId="{B9507B7D-5FA7-404E-AE0F-1077A325DA1A}" dt="2023-06-21T21:36:27.282" v="182"/>
        <pc:sldMkLst>
          <pc:docMk/>
          <pc:sldMk cId="1884336776" sldId="276"/>
        </pc:sldMkLst>
        <pc:spChg chg="mod">
          <ac:chgData name="Dave Lingebach" userId="8345a2a5-a067-4759-8441-be0dd7848035" providerId="ADAL" clId="{B9507B7D-5FA7-404E-AE0F-1077A325DA1A}" dt="2023-06-21T21:36:26.911" v="178" actId="20577"/>
          <ac:spMkLst>
            <pc:docMk/>
            <pc:sldMk cId="1884336776" sldId="276"/>
            <ac:spMk id="2" creationId="{452593B0-E4ED-1EA0-DFC3-C27D0C4DD723}"/>
          </ac:spMkLst>
        </pc:spChg>
        <pc:spChg chg="add del mod modVis">
          <ac:chgData name="Dave Lingebach" userId="8345a2a5-a067-4759-8441-be0dd7848035" providerId="ADAL" clId="{B9507B7D-5FA7-404E-AE0F-1077A325DA1A}" dt="2023-06-21T21:36:26.909" v="176" actId="962"/>
          <ac:spMkLst>
            <pc:docMk/>
            <pc:sldMk cId="1884336776" sldId="276"/>
            <ac:spMk id="3" creationId="{BC5A862E-0E4A-BC01-8323-50473EAD8778}"/>
          </ac:spMkLst>
        </pc:spChg>
        <pc:spChg chg="add del mod modVis">
          <ac:chgData name="Dave Lingebach" userId="8345a2a5-a067-4759-8441-be0dd7848035" providerId="ADAL" clId="{B9507B7D-5FA7-404E-AE0F-1077A325DA1A}" dt="2023-06-21T21:36:26.416" v="149" actId="962"/>
          <ac:spMkLst>
            <pc:docMk/>
            <pc:sldMk cId="1884336776" sldId="276"/>
            <ac:spMk id="5" creationId="{0224D477-C7F4-E86E-D2E4-7DA0067FA0FE}"/>
          </ac:spMkLst>
        </pc:spChg>
        <pc:spChg chg="add del mod modVis">
          <ac:chgData name="Dave Lingebach" userId="8345a2a5-a067-4759-8441-be0dd7848035" providerId="ADAL" clId="{B9507B7D-5FA7-404E-AE0F-1077A325DA1A}" dt="2023-06-21T21:36:25.736" v="122" actId="962"/>
          <ac:spMkLst>
            <pc:docMk/>
            <pc:sldMk cId="1884336776" sldId="276"/>
            <ac:spMk id="7" creationId="{D3671EBB-9276-76D2-1BC7-F536BE862F02}"/>
          </ac:spMkLst>
        </pc:spChg>
        <pc:graphicFrameChg chg="mod">
          <ac:chgData name="Dave Lingebach" userId="8345a2a5-a067-4759-8441-be0dd7848035" providerId="ADAL" clId="{B9507B7D-5FA7-404E-AE0F-1077A325DA1A}" dt="2023-06-21T21:36:27.282" v="182"/>
          <ac:graphicFrameMkLst>
            <pc:docMk/>
            <pc:sldMk cId="1884336776" sldId="276"/>
            <ac:graphicFrameMk id="4" creationId="{3C8598C1-2C98-E53F-060A-0657D9FD1921}"/>
          </ac:graphicFrameMkLst>
        </pc:graphicFrameChg>
      </pc:sldChg>
      <pc:sldChg chg="addSp delSp modSp add del mod">
        <pc:chgData name="Dave Lingebach" userId="8345a2a5-a067-4759-8441-be0dd7848035" providerId="ADAL" clId="{B9507B7D-5FA7-404E-AE0F-1077A325DA1A}" dt="2023-06-21T21:45:55.459" v="1077"/>
        <pc:sldMkLst>
          <pc:docMk/>
          <pc:sldMk cId="3484820625" sldId="277"/>
        </pc:sldMkLst>
        <pc:spChg chg="mod">
          <ac:chgData name="Dave Lingebach" userId="8345a2a5-a067-4759-8441-be0dd7848035" providerId="ADAL" clId="{B9507B7D-5FA7-404E-AE0F-1077A325DA1A}" dt="2023-06-21T21:45:55.437" v="1051" actId="948"/>
          <ac:spMkLst>
            <pc:docMk/>
            <pc:sldMk cId="3484820625" sldId="277"/>
            <ac:spMk id="2" creationId="{03DBE548-CBD6-273F-3478-595677CA48F7}"/>
          </ac:spMkLst>
        </pc:spChg>
        <pc:spChg chg="add del mod modVis">
          <ac:chgData name="Dave Lingebach" userId="8345a2a5-a067-4759-8441-be0dd7848035" providerId="ADAL" clId="{B9507B7D-5FA7-404E-AE0F-1077A325DA1A}" dt="2023-06-21T21:40:34.722" v="348"/>
          <ac:spMkLst>
            <pc:docMk/>
            <pc:sldMk cId="3484820625" sldId="277"/>
            <ac:spMk id="3" creationId="{5ABF5035-3038-3728-97E7-50A3D3CD5B42}"/>
          </ac:spMkLst>
        </pc:spChg>
        <pc:spChg chg="add del mod modVis">
          <ac:chgData name="Dave Lingebach" userId="8345a2a5-a067-4759-8441-be0dd7848035" providerId="ADAL" clId="{B9507B7D-5FA7-404E-AE0F-1077A325DA1A}" dt="2023-06-21T21:40:38.194" v="380"/>
          <ac:spMkLst>
            <pc:docMk/>
            <pc:sldMk cId="3484820625" sldId="277"/>
            <ac:spMk id="4" creationId="{B7C1AB11-03F6-DEBA-DAB1-2E7C11FB05E1}"/>
          </ac:spMkLst>
        </pc:spChg>
        <pc:spChg chg="add del mod modVis">
          <ac:chgData name="Dave Lingebach" userId="8345a2a5-a067-4759-8441-be0dd7848035" providerId="ADAL" clId="{B9507B7D-5FA7-404E-AE0F-1077A325DA1A}" dt="2023-06-21T21:40:41.339" v="414"/>
          <ac:spMkLst>
            <pc:docMk/>
            <pc:sldMk cId="3484820625" sldId="277"/>
            <ac:spMk id="6" creationId="{1F05442C-2392-E5C1-9F1B-6BF06ECFA47B}"/>
          </ac:spMkLst>
        </pc:spChg>
        <pc:spChg chg="add del mod modVis">
          <ac:chgData name="Dave Lingebach" userId="8345a2a5-a067-4759-8441-be0dd7848035" providerId="ADAL" clId="{B9507B7D-5FA7-404E-AE0F-1077A325DA1A}" dt="2023-06-21T21:40:41.872" v="442"/>
          <ac:spMkLst>
            <pc:docMk/>
            <pc:sldMk cId="3484820625" sldId="277"/>
            <ac:spMk id="7" creationId="{B984910F-2555-EACA-75D7-284D648FE682}"/>
          </ac:spMkLst>
        </pc:spChg>
        <pc:spChg chg="add del mod modVis">
          <ac:chgData name="Dave Lingebach" userId="8345a2a5-a067-4759-8441-be0dd7848035" providerId="ADAL" clId="{B9507B7D-5FA7-404E-AE0F-1077A325DA1A}" dt="2023-06-21T21:40:42.142" v="471"/>
          <ac:spMkLst>
            <pc:docMk/>
            <pc:sldMk cId="3484820625" sldId="277"/>
            <ac:spMk id="8" creationId="{C8BD4A85-7788-51C9-0DA6-E03D568C358C}"/>
          </ac:spMkLst>
        </pc:spChg>
        <pc:spChg chg="add del mod modVis">
          <ac:chgData name="Dave Lingebach" userId="8345a2a5-a067-4759-8441-be0dd7848035" providerId="ADAL" clId="{B9507B7D-5FA7-404E-AE0F-1077A325DA1A}" dt="2023-06-21T21:40:43.322" v="503"/>
          <ac:spMkLst>
            <pc:docMk/>
            <pc:sldMk cId="3484820625" sldId="277"/>
            <ac:spMk id="9" creationId="{BF88E927-4FFB-3688-200E-6F4F5C893C6F}"/>
          </ac:spMkLst>
        </pc:spChg>
        <pc:spChg chg="add del mod modVis">
          <ac:chgData name="Dave Lingebach" userId="8345a2a5-a067-4759-8441-be0dd7848035" providerId="ADAL" clId="{B9507B7D-5FA7-404E-AE0F-1077A325DA1A}" dt="2023-06-21T21:40:44.146" v="531"/>
          <ac:spMkLst>
            <pc:docMk/>
            <pc:sldMk cId="3484820625" sldId="277"/>
            <ac:spMk id="10" creationId="{0853DF01-AE52-BBBD-77E3-91FD61053E5A}"/>
          </ac:spMkLst>
        </pc:spChg>
        <pc:spChg chg="add del mod modVis">
          <ac:chgData name="Dave Lingebach" userId="8345a2a5-a067-4759-8441-be0dd7848035" providerId="ADAL" clId="{B9507B7D-5FA7-404E-AE0F-1077A325DA1A}" dt="2023-06-21T21:40:50.564" v="573"/>
          <ac:spMkLst>
            <pc:docMk/>
            <pc:sldMk cId="3484820625" sldId="277"/>
            <ac:spMk id="11" creationId="{18E1E792-4334-A56C-3264-3FF8015CA426}"/>
          </ac:spMkLst>
        </pc:spChg>
        <pc:spChg chg="add del mod modVis">
          <ac:chgData name="Dave Lingebach" userId="8345a2a5-a067-4759-8441-be0dd7848035" providerId="ADAL" clId="{B9507B7D-5FA7-404E-AE0F-1077A325DA1A}" dt="2023-06-21T21:45:52.767" v="1046"/>
          <ac:spMkLst>
            <pc:docMk/>
            <pc:sldMk cId="3484820625" sldId="277"/>
            <ac:spMk id="13" creationId="{6B623A0D-732D-F1B1-58E8-AE80D9EA5B0F}"/>
          </ac:spMkLst>
        </pc:spChg>
        <pc:spChg chg="add del mod modVis">
          <ac:chgData name="Dave Lingebach" userId="8345a2a5-a067-4759-8441-be0dd7848035" providerId="ADAL" clId="{B9507B7D-5FA7-404E-AE0F-1077A325DA1A}" dt="2023-06-21T21:45:55.459" v="1075"/>
          <ac:spMkLst>
            <pc:docMk/>
            <pc:sldMk cId="3484820625" sldId="277"/>
            <ac:spMk id="14" creationId="{CE3B4BE0-427D-D4EE-0CB7-6C1B6175037E}"/>
          </ac:spMkLst>
        </pc:spChg>
        <pc:graphicFrameChg chg="modGraphic">
          <ac:chgData name="Dave Lingebach" userId="8345a2a5-a067-4759-8441-be0dd7848035" providerId="ADAL" clId="{B9507B7D-5FA7-404E-AE0F-1077A325DA1A}" dt="2023-06-21T21:44:22.906" v="902" actId="20577"/>
          <ac:graphicFrameMkLst>
            <pc:docMk/>
            <pc:sldMk cId="3484820625" sldId="277"/>
            <ac:graphicFrameMk id="5" creationId="{A9BF76C6-84B9-17BC-6642-29AE930E1994}"/>
          </ac:graphicFrameMkLst>
        </pc:graphicFrameChg>
        <pc:graphicFrameChg chg="mod">
          <ac:chgData name="Dave Lingebach" userId="8345a2a5-a067-4759-8441-be0dd7848035" providerId="ADAL" clId="{B9507B7D-5FA7-404E-AE0F-1077A325DA1A}" dt="2023-06-21T21:45:55.459" v="1077"/>
          <ac:graphicFrameMkLst>
            <pc:docMk/>
            <pc:sldMk cId="3484820625" sldId="277"/>
            <ac:graphicFrameMk id="12" creationId="{16621904-77B8-F96B-8DAD-359EC1C6DB7C}"/>
          </ac:graphicFrameMkLst>
        </pc:graphicFrameChg>
      </pc:sldChg>
      <pc:sldChg chg="addSp delSp modSp new add del mod">
        <pc:chgData name="Dave Lingebach" userId="8345a2a5-a067-4759-8441-be0dd7848035" providerId="ADAL" clId="{B9507B7D-5FA7-404E-AE0F-1077A325DA1A}" dt="2023-06-21T22:09:02.186" v="3700" actId="47"/>
        <pc:sldMkLst>
          <pc:docMk/>
          <pc:sldMk cId="2285812891" sldId="278"/>
        </pc:sldMkLst>
        <pc:spChg chg="add del mod">
          <ac:chgData name="Dave Lingebach" userId="8345a2a5-a067-4759-8441-be0dd7848035" providerId="ADAL" clId="{B9507B7D-5FA7-404E-AE0F-1077A325DA1A}" dt="2023-06-21T22:07:21.278" v="3594" actId="948"/>
          <ac:spMkLst>
            <pc:docMk/>
            <pc:sldMk cId="2285812891" sldId="278"/>
            <ac:spMk id="2" creationId="{46E696D0-534B-6403-C6A5-CC9CBF18A294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4" creationId="{AE2836A4-5989-F81F-DB69-00C2B793A194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6" creationId="{803AA782-5265-58C7-B5D9-A6171A473F10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7" creationId="{8CD427F2-8148-BCDA-3CD8-C51E8E64D7B3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8" creationId="{244C5D2F-4D9A-4371-FEA3-376FCBB0E927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9" creationId="{8FD747D5-B784-5B0C-A705-67AA48D49065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0" creationId="{C8B5716D-D3AE-06AD-47D9-179D46A19284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1" creationId="{0D726FEF-E30B-DC48-D683-D5AB31C6E9CA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2" creationId="{843EB351-F6EF-45C3-DF87-E90AB5AE4D0C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3" creationId="{32ABCC56-1BF2-4203-46FB-A8B2172396B0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4" creationId="{772399C2-EA8D-733D-F718-23A75827878C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5" creationId="{19149AD1-DB36-D834-15EA-88C2594B4932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6" creationId="{C5A553EA-A115-244F-3682-1FB6DCD75B81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7" creationId="{306483A5-6C0E-2D5C-408D-ADA8B4358415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8" creationId="{E0AB798C-B767-405F-A974-CB3EA8284F02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19" creationId="{1D3E86F2-E4A3-72E3-B3D3-D713704CEE94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20" creationId="{36CA9532-5702-5B39-9416-AC1C178A37C4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26" creationId="{EC2A9906-DEC3-11B4-0995-89ADF908D9BA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27" creationId="{1002C566-FA48-BB3A-7F07-555739AA892B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28" creationId="{4C5E97BE-3CB4-8453-E95C-FFAFABB247C6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29" creationId="{117C43BD-DAF5-41E0-4D64-649D20B48DB6}"/>
          </ac:spMkLst>
        </pc:spChg>
        <pc:spChg chg="add del mod">
          <ac:chgData name="Dave Lingebach" userId="8345a2a5-a067-4759-8441-be0dd7848035" providerId="ADAL" clId="{B9507B7D-5FA7-404E-AE0F-1077A325DA1A}" dt="2023-06-21T22:07:08.877" v="3542"/>
          <ac:spMkLst>
            <pc:docMk/>
            <pc:sldMk cId="2285812891" sldId="278"/>
            <ac:spMk id="30" creationId="{D33342D6-7374-3EB9-AAFB-728F27713B10}"/>
          </ac:spMkLst>
        </pc:spChg>
        <pc:spChg chg="add del mod modVis">
          <ac:chgData name="Dave Lingebach" userId="8345a2a5-a067-4759-8441-be0dd7848035" providerId="ADAL" clId="{B9507B7D-5FA7-404E-AE0F-1077A325DA1A}" dt="2023-06-21T22:07:20.138" v="3577"/>
          <ac:spMkLst>
            <pc:docMk/>
            <pc:sldMk cId="2285812891" sldId="278"/>
            <ac:spMk id="36" creationId="{B2D0C809-BB69-A8E4-92C4-FB4B7FE3F84D}"/>
          </ac:spMkLst>
        </pc:spChg>
        <pc:spChg chg="add del mod modVis">
          <ac:chgData name="Dave Lingebach" userId="8345a2a5-a067-4759-8441-be0dd7848035" providerId="ADAL" clId="{B9507B7D-5FA7-404E-AE0F-1077A325DA1A}" dt="2023-06-21T22:07:21.309" v="3618"/>
          <ac:spMkLst>
            <pc:docMk/>
            <pc:sldMk cId="2285812891" sldId="278"/>
            <ac:spMk id="38" creationId="{849D522D-A205-DA59-9623-7526D7C5381C}"/>
          </ac:spMkLst>
        </pc:spChg>
        <pc:spChg chg="add mod">
          <ac:chgData name="Dave Lingebach" userId="8345a2a5-a067-4759-8441-be0dd7848035" providerId="ADAL" clId="{B9507B7D-5FA7-404E-AE0F-1077A325DA1A}" dt="2023-06-21T22:07:33.234" v="3621"/>
          <ac:spMkLst>
            <pc:docMk/>
            <pc:sldMk cId="2285812891" sldId="278"/>
            <ac:spMk id="39" creationId="{7F0FD1C6-8CED-A7FA-1CC5-7E2FCE9AB1CE}"/>
          </ac:spMkLst>
        </pc:spChg>
        <pc:spChg chg="add mod">
          <ac:chgData name="Dave Lingebach" userId="8345a2a5-a067-4759-8441-be0dd7848035" providerId="ADAL" clId="{B9507B7D-5FA7-404E-AE0F-1077A325DA1A}" dt="2023-06-21T22:07:33.234" v="3621"/>
          <ac:spMkLst>
            <pc:docMk/>
            <pc:sldMk cId="2285812891" sldId="278"/>
            <ac:spMk id="40" creationId="{E5B36B91-2555-FB80-9C97-19618E213136}"/>
          </ac:spMkLst>
        </pc:spChg>
        <pc:spChg chg="add mod">
          <ac:chgData name="Dave Lingebach" userId="8345a2a5-a067-4759-8441-be0dd7848035" providerId="ADAL" clId="{B9507B7D-5FA7-404E-AE0F-1077A325DA1A}" dt="2023-06-21T22:07:33.234" v="3621"/>
          <ac:spMkLst>
            <pc:docMk/>
            <pc:sldMk cId="2285812891" sldId="278"/>
            <ac:spMk id="41" creationId="{2154BCC8-AFCE-C2C0-1BB5-0FBE6FA9C966}"/>
          </ac:spMkLst>
        </pc:spChg>
        <pc:spChg chg="add mod">
          <ac:chgData name="Dave Lingebach" userId="8345a2a5-a067-4759-8441-be0dd7848035" providerId="ADAL" clId="{B9507B7D-5FA7-404E-AE0F-1077A325DA1A}" dt="2023-06-21T22:07:33.234" v="3621"/>
          <ac:spMkLst>
            <pc:docMk/>
            <pc:sldMk cId="2285812891" sldId="278"/>
            <ac:spMk id="42" creationId="{4104B7BA-2BD7-8E0A-8BDF-F4FEB0CB4C84}"/>
          </ac:spMkLst>
        </pc:spChg>
        <pc:spChg chg="add mod">
          <ac:chgData name="Dave Lingebach" userId="8345a2a5-a067-4759-8441-be0dd7848035" providerId="ADAL" clId="{B9507B7D-5FA7-404E-AE0F-1077A325DA1A}" dt="2023-06-21T22:07:33.234" v="3621"/>
          <ac:spMkLst>
            <pc:docMk/>
            <pc:sldMk cId="2285812891" sldId="278"/>
            <ac:spMk id="43" creationId="{C94272BE-FD36-E245-C608-92586390B295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4" creationId="{9549BBBC-E6AB-C406-FBDF-A145440895B4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5" creationId="{650259E3-0AD6-0A24-2499-3CA9468996E7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6" creationId="{4A681D37-3DC4-FB34-277C-8D5C82D5D2E3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7" creationId="{851D1DF5-9CD3-E1F8-089C-F08F4CF7DBDF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8" creationId="{2D29EEF4-BD9E-A66E-1A7F-37E55107811D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49" creationId="{4E67780C-E051-6C72-97E6-32DEA3E0B30A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50" creationId="{E4C01747-420B-A11E-0CC0-7D72F0C958B4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51" creationId="{F83DF4F3-0F7F-E072-B384-DB2A15284435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52" creationId="{5358E72E-64B8-DE3C-AF8F-21B697693731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53" creationId="{BF272A30-C4A2-F662-169A-23732FB24C08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59" creationId="{78108B9D-EFBB-6861-843F-A0EF232BB648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60" creationId="{EAD683B1-8461-52C3-A014-57B3718B0924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61" creationId="{6DE3809D-6CFF-0E6F-CF2F-293AD21EAC55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62" creationId="{6DD5C3EF-94AB-C65A-3E9C-ED8FBC3FBF4E}"/>
          </ac:spMkLst>
        </pc:spChg>
        <pc:spChg chg="add mod">
          <ac:chgData name="Dave Lingebach" userId="8345a2a5-a067-4759-8441-be0dd7848035" providerId="ADAL" clId="{B9507B7D-5FA7-404E-AE0F-1077A325DA1A}" dt="2023-06-21T22:07:46.689" v="3622" actId="207"/>
          <ac:spMkLst>
            <pc:docMk/>
            <pc:sldMk cId="2285812891" sldId="278"/>
            <ac:spMk id="63" creationId="{BF89D84C-1C70-EC7B-75E7-B52436512212}"/>
          </ac:spMkLst>
        </pc:spChg>
        <pc:graphicFrameChg chg="add mod modVis replST delST">
          <ac:chgData name="Dave Lingebach" userId="8345a2a5-a067-4759-8441-be0dd7848035" providerId="ADAL" clId="{B9507B7D-5FA7-404E-AE0F-1077A325DA1A}" dt="2023-06-21T22:07:09.245" v="3548" actId="14100"/>
          <ac:graphicFrameMkLst>
            <pc:docMk/>
            <pc:sldMk cId="2285812891" sldId="278"/>
            <ac:graphicFrameMk id="3" creationId="{D640034C-1D20-E67A-1A15-A239314B8448}"/>
          </ac:graphicFrameMkLst>
        </pc:graphicFrameChg>
        <pc:graphicFrameChg chg="add mod ord modVis replST">
          <ac:chgData name="Dave Lingebach" userId="8345a2a5-a067-4759-8441-be0dd7848035" providerId="ADAL" clId="{B9507B7D-5FA7-404E-AE0F-1077A325DA1A}" dt="2023-06-21T22:07:21.309" v="3620"/>
          <ac:graphicFrameMkLst>
            <pc:docMk/>
            <pc:sldMk cId="2285812891" sldId="278"/>
            <ac:graphicFrameMk id="37" creationId="{3B7CA704-E9E5-A238-11F5-E3C640633501}"/>
          </ac:graphicFrameMkLst>
        </pc:graphicFrameChg>
        <pc:picChg chg="add del mod">
          <ac:chgData name="Dave Lingebach" userId="8345a2a5-a067-4759-8441-be0dd7848035" providerId="ADAL" clId="{B9507B7D-5FA7-404E-AE0F-1077A325DA1A}" dt="2023-06-21T22:07:08.877" v="3542"/>
          <ac:picMkLst>
            <pc:docMk/>
            <pc:sldMk cId="2285812891" sldId="278"/>
            <ac:picMk id="21" creationId="{67CBB97E-E29C-7E1A-B822-18F5514A0D3E}"/>
          </ac:picMkLst>
        </pc:picChg>
        <pc:picChg chg="add del mod">
          <ac:chgData name="Dave Lingebach" userId="8345a2a5-a067-4759-8441-be0dd7848035" providerId="ADAL" clId="{B9507B7D-5FA7-404E-AE0F-1077A325DA1A}" dt="2023-06-21T22:07:08.877" v="3542"/>
          <ac:picMkLst>
            <pc:docMk/>
            <pc:sldMk cId="2285812891" sldId="278"/>
            <ac:picMk id="22" creationId="{19B06BB5-DED6-4C58-9A4A-81007EF83F02}"/>
          </ac:picMkLst>
        </pc:picChg>
        <pc:picChg chg="add del mod">
          <ac:chgData name="Dave Lingebach" userId="8345a2a5-a067-4759-8441-be0dd7848035" providerId="ADAL" clId="{B9507B7D-5FA7-404E-AE0F-1077A325DA1A}" dt="2023-06-21T22:07:08.877" v="3542"/>
          <ac:picMkLst>
            <pc:docMk/>
            <pc:sldMk cId="2285812891" sldId="278"/>
            <ac:picMk id="23" creationId="{AC44698F-649E-931F-FA5D-E85154081143}"/>
          </ac:picMkLst>
        </pc:picChg>
        <pc:picChg chg="add del mod">
          <ac:chgData name="Dave Lingebach" userId="8345a2a5-a067-4759-8441-be0dd7848035" providerId="ADAL" clId="{B9507B7D-5FA7-404E-AE0F-1077A325DA1A}" dt="2023-06-21T22:07:08.877" v="3542"/>
          <ac:picMkLst>
            <pc:docMk/>
            <pc:sldMk cId="2285812891" sldId="278"/>
            <ac:picMk id="24" creationId="{CB35C5FE-22C9-D500-8446-A488575888C7}"/>
          </ac:picMkLst>
        </pc:picChg>
        <pc:picChg chg="add del mod">
          <ac:chgData name="Dave Lingebach" userId="8345a2a5-a067-4759-8441-be0dd7848035" providerId="ADAL" clId="{B9507B7D-5FA7-404E-AE0F-1077A325DA1A}" dt="2023-06-21T22:07:08.877" v="3542"/>
          <ac:picMkLst>
            <pc:docMk/>
            <pc:sldMk cId="2285812891" sldId="278"/>
            <ac:picMk id="25" creationId="{747EB587-A37A-329A-048F-D2BDBC5E29E4}"/>
          </ac:picMkLst>
        </pc:picChg>
        <pc:picChg chg="add mod">
          <ac:chgData name="Dave Lingebach" userId="8345a2a5-a067-4759-8441-be0dd7848035" providerId="ADAL" clId="{B9507B7D-5FA7-404E-AE0F-1077A325DA1A}" dt="2023-06-21T22:07:33.234" v="3621"/>
          <ac:picMkLst>
            <pc:docMk/>
            <pc:sldMk cId="2285812891" sldId="278"/>
            <ac:picMk id="54" creationId="{09240C77-ECEF-DE04-B14F-600A4417BF29}"/>
          </ac:picMkLst>
        </pc:picChg>
        <pc:picChg chg="add mod">
          <ac:chgData name="Dave Lingebach" userId="8345a2a5-a067-4759-8441-be0dd7848035" providerId="ADAL" clId="{B9507B7D-5FA7-404E-AE0F-1077A325DA1A}" dt="2023-06-21T22:07:33.234" v="3621"/>
          <ac:picMkLst>
            <pc:docMk/>
            <pc:sldMk cId="2285812891" sldId="278"/>
            <ac:picMk id="55" creationId="{74DF2A9E-2380-B229-46BB-A3A22A1CE57F}"/>
          </ac:picMkLst>
        </pc:picChg>
        <pc:picChg chg="add mod">
          <ac:chgData name="Dave Lingebach" userId="8345a2a5-a067-4759-8441-be0dd7848035" providerId="ADAL" clId="{B9507B7D-5FA7-404E-AE0F-1077A325DA1A}" dt="2023-06-21T22:07:33.234" v="3621"/>
          <ac:picMkLst>
            <pc:docMk/>
            <pc:sldMk cId="2285812891" sldId="278"/>
            <ac:picMk id="56" creationId="{35083412-9FBB-7AB5-45CC-D0C36F106E98}"/>
          </ac:picMkLst>
        </pc:picChg>
        <pc:picChg chg="add mod">
          <ac:chgData name="Dave Lingebach" userId="8345a2a5-a067-4759-8441-be0dd7848035" providerId="ADAL" clId="{B9507B7D-5FA7-404E-AE0F-1077A325DA1A}" dt="2023-06-21T22:07:33.234" v="3621"/>
          <ac:picMkLst>
            <pc:docMk/>
            <pc:sldMk cId="2285812891" sldId="278"/>
            <ac:picMk id="57" creationId="{77EE0554-7ABC-AA88-C500-ACE94D846843}"/>
          </ac:picMkLst>
        </pc:picChg>
        <pc:picChg chg="add mod">
          <ac:chgData name="Dave Lingebach" userId="8345a2a5-a067-4759-8441-be0dd7848035" providerId="ADAL" clId="{B9507B7D-5FA7-404E-AE0F-1077A325DA1A}" dt="2023-06-21T22:07:33.234" v="3621"/>
          <ac:picMkLst>
            <pc:docMk/>
            <pc:sldMk cId="2285812891" sldId="278"/>
            <ac:picMk id="58" creationId="{EC102891-0205-E747-3B2E-81E0982F8B78}"/>
          </ac:picMkLst>
        </pc:pic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5" creationId="{B9363AC1-92D3-D9AE-9180-654C46324B4E}"/>
          </ac:cxnSpMkLst>
        </pc:cxn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31" creationId="{A361E0E3-534B-A99A-63BA-EE69316FAB52}"/>
          </ac:cxnSpMkLst>
        </pc:cxn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32" creationId="{18EFFFAB-869D-1BE7-0CC0-25037401DB43}"/>
          </ac:cxnSpMkLst>
        </pc:cxn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33" creationId="{D5B724D5-93B6-5BF1-6C60-BBF899EDDAF2}"/>
          </ac:cxnSpMkLst>
        </pc:cxn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34" creationId="{16756C6B-0740-9707-F3AE-539E9D80A448}"/>
          </ac:cxnSpMkLst>
        </pc:cxnChg>
        <pc:cxnChg chg="add del mod">
          <ac:chgData name="Dave Lingebach" userId="8345a2a5-a067-4759-8441-be0dd7848035" providerId="ADAL" clId="{B9507B7D-5FA7-404E-AE0F-1077A325DA1A}" dt="2023-06-21T22:07:08.877" v="3542"/>
          <ac:cxnSpMkLst>
            <pc:docMk/>
            <pc:sldMk cId="2285812891" sldId="278"/>
            <ac:cxnSpMk id="35" creationId="{67C3833B-C0D7-EAB8-27A1-748413247BDD}"/>
          </ac:cxnSpMkLst>
        </pc:cxnChg>
        <pc:cxnChg chg="add mod">
          <ac:chgData name="Dave Lingebach" userId="8345a2a5-a067-4759-8441-be0dd7848035" providerId="ADAL" clId="{B9507B7D-5FA7-404E-AE0F-1077A325DA1A}" dt="2023-06-21T22:07:33.234" v="3621"/>
          <ac:cxnSpMkLst>
            <pc:docMk/>
            <pc:sldMk cId="2285812891" sldId="278"/>
            <ac:cxnSpMk id="64" creationId="{9F407516-B741-DC16-1D2B-828AC873BD9E}"/>
          </ac:cxnSpMkLst>
        </pc:cxnChg>
        <pc:cxnChg chg="add mod">
          <ac:chgData name="Dave Lingebach" userId="8345a2a5-a067-4759-8441-be0dd7848035" providerId="ADAL" clId="{B9507B7D-5FA7-404E-AE0F-1077A325DA1A}" dt="2023-06-21T22:07:33.234" v="3621"/>
          <ac:cxnSpMkLst>
            <pc:docMk/>
            <pc:sldMk cId="2285812891" sldId="278"/>
            <ac:cxnSpMk id="65" creationId="{2D4CF0D5-33DC-AF44-22C3-511B7CCA2F24}"/>
          </ac:cxnSpMkLst>
        </pc:cxnChg>
        <pc:cxnChg chg="add mod">
          <ac:chgData name="Dave Lingebach" userId="8345a2a5-a067-4759-8441-be0dd7848035" providerId="ADAL" clId="{B9507B7D-5FA7-404E-AE0F-1077A325DA1A}" dt="2023-06-21T22:07:33.234" v="3621"/>
          <ac:cxnSpMkLst>
            <pc:docMk/>
            <pc:sldMk cId="2285812891" sldId="278"/>
            <ac:cxnSpMk id="66" creationId="{ABA777F5-1360-990D-C966-D66B79C8B81E}"/>
          </ac:cxnSpMkLst>
        </pc:cxnChg>
        <pc:cxnChg chg="add mod">
          <ac:chgData name="Dave Lingebach" userId="8345a2a5-a067-4759-8441-be0dd7848035" providerId="ADAL" clId="{B9507B7D-5FA7-404E-AE0F-1077A325DA1A}" dt="2023-06-21T22:07:33.234" v="3621"/>
          <ac:cxnSpMkLst>
            <pc:docMk/>
            <pc:sldMk cId="2285812891" sldId="278"/>
            <ac:cxnSpMk id="67" creationId="{17FA0557-8E9D-4B56-719B-0BE51C271176}"/>
          </ac:cxnSpMkLst>
        </pc:cxnChg>
        <pc:cxnChg chg="add mod">
          <ac:chgData name="Dave Lingebach" userId="8345a2a5-a067-4759-8441-be0dd7848035" providerId="ADAL" clId="{B9507B7D-5FA7-404E-AE0F-1077A325DA1A}" dt="2023-06-21T22:07:33.234" v="3621"/>
          <ac:cxnSpMkLst>
            <pc:docMk/>
            <pc:sldMk cId="2285812891" sldId="278"/>
            <ac:cxnSpMk id="68" creationId="{B1C3D6D3-3AC3-A9D1-1805-25C5B9433A3D}"/>
          </ac:cxnSpMkLst>
        </pc:cxnChg>
      </pc:sldChg>
      <pc:sldChg chg="addSp delSp modSp new add del mod">
        <pc:chgData name="Dave Lingebach" userId="8345a2a5-a067-4759-8441-be0dd7848035" providerId="ADAL" clId="{B9507B7D-5FA7-404E-AE0F-1077A325DA1A}" dt="2023-06-21T22:09:02.672" v="3701" actId="47"/>
        <pc:sldMkLst>
          <pc:docMk/>
          <pc:sldMk cId="3700240548" sldId="279"/>
        </pc:sldMkLst>
        <pc:spChg chg="mod">
          <ac:chgData name="Dave Lingebach" userId="8345a2a5-a067-4759-8441-be0dd7848035" providerId="ADAL" clId="{B9507B7D-5FA7-404E-AE0F-1077A325DA1A}" dt="2023-06-21T22:08:33.986" v="3667" actId="948"/>
          <ac:spMkLst>
            <pc:docMk/>
            <pc:sldMk cId="3700240548" sldId="279"/>
            <ac:spMk id="2" creationId="{0B546F2A-A928-3BE6-F5BB-A915AEF28A48}"/>
          </ac:spMkLst>
        </pc:spChg>
        <pc:spChg chg="add del mod modVis">
          <ac:chgData name="Dave Lingebach" userId="8345a2a5-a067-4759-8441-be0dd7848035" providerId="ADAL" clId="{B9507B7D-5FA7-404E-AE0F-1077A325DA1A}" dt="2023-06-21T22:08:33.184" v="3650"/>
          <ac:spMkLst>
            <pc:docMk/>
            <pc:sldMk cId="3700240548" sldId="279"/>
            <ac:spMk id="3" creationId="{349C1BE9-35CF-6E72-8959-977E96EC40F8}"/>
          </ac:spMkLst>
        </pc:spChg>
        <pc:spChg chg="add del mod modVis">
          <ac:chgData name="Dave Lingebach" userId="8345a2a5-a067-4759-8441-be0dd7848035" providerId="ADAL" clId="{B9507B7D-5FA7-404E-AE0F-1077A325DA1A}" dt="2023-06-21T22:08:34.032" v="3691"/>
          <ac:spMkLst>
            <pc:docMk/>
            <pc:sldMk cId="3700240548" sldId="279"/>
            <ac:spMk id="5" creationId="{251C9E02-FAA5-0DA0-079E-034C3225638E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7" creationId="{5F42D2E5-1E67-A6BD-2154-1CCC0974D940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8" creationId="{600C2207-FC19-9BD6-32FC-4B63A2C5CFDC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9" creationId="{041228C3-7DD8-6B54-26AE-4DC238B91473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0" creationId="{2DB402AF-6A73-C419-919F-BCDB908ADBCE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1" creationId="{31D172DB-5046-0F5B-484A-211F9E4C0597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2" creationId="{0D712283-272B-3CEC-F456-A7E69FE17456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3" creationId="{DC429BDA-8369-3720-65F1-F94037635219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4" creationId="{5BD0847E-E105-E12C-E41E-1B5F3BFB6A36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5" creationId="{D738507E-C03E-D496-4A54-B5051490F060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16" creationId="{26FAA305-1C56-B9FD-CC35-7DAEF95CE8C7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2" creationId="{BFB6B45E-DE9A-3139-86B6-D1787E950BFD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3" creationId="{E8F4B832-2B53-27D2-F85A-FF9D8F2B93DE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4" creationId="{375A9307-C673-4E77-5D41-BA373ACBF005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5" creationId="{27546250-59A0-0B82-BE14-56DB38348823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6" creationId="{84CA940D-4781-BDCB-7810-CA70827DECDD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7" creationId="{40A1E84B-DA7A-B39D-B258-4BE63D60C65A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8" creationId="{F539AD72-3DEF-6494-4E0F-39A31148893B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29" creationId="{1F99ADBF-A504-B029-FEAA-1983245E744E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30" creationId="{2C7B6C9D-2AF3-341D-656C-8BBB281ED174}"/>
          </ac:spMkLst>
        </pc:spChg>
        <pc:spChg chg="add del mod">
          <ac:chgData name="Dave Lingebach" userId="8345a2a5-a067-4759-8441-be0dd7848035" providerId="ADAL" clId="{B9507B7D-5FA7-404E-AE0F-1077A325DA1A}" dt="2023-06-21T22:08:52.688" v="3697"/>
          <ac:spMkLst>
            <pc:docMk/>
            <pc:sldMk cId="3700240548" sldId="279"/>
            <ac:spMk id="31" creationId="{58FE4714-AA94-6289-8718-F7DCF26D3E66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37" creationId="{B44D6FCE-1077-24F2-B255-A94BA9C9F7E8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38" creationId="{34F7536A-03B2-546D-C78B-65FE5CD15744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39" creationId="{52AF44C3-A824-CD91-A874-063C9D397D5E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0" creationId="{345543CB-3671-DD32-0F16-0E2F37378D03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1" creationId="{97B97159-DDA7-CD73-75B6-5F6486CFA51B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2" creationId="{1B507BF1-501E-055E-11D8-4744D28517AC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3" creationId="{D6C4725F-379A-5209-AAB6-8F0CCA419E78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4" creationId="{CA14184C-A083-98E8-A1C4-0B61D0D1CEE6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5" creationId="{DA8848D9-A83D-7785-A03C-544E01ECB342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46" creationId="{F4D9DADF-470A-FAAE-FB4C-8BD6CC9B4622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2" creationId="{7685139B-C4A5-0C3E-142A-C1115DAAB1F7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3" creationId="{0F46939C-1874-0A7C-6906-301D6BFB246E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4" creationId="{584242E2-24C4-2D9D-CFA5-CFB41BB4108A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5" creationId="{9CD6D979-FA11-6714-545B-B67DC537BC05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6" creationId="{88F323E6-1365-38AC-6994-97A3898BE064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7" creationId="{60A27254-76EA-5313-E954-C5FB7D3491C6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8" creationId="{697E46B4-44E7-5DF1-B990-A85AB7368641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59" creationId="{4942DB66-6A65-20B1-B918-2D656043FC13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60" creationId="{65212D00-7C95-4BE7-0281-A3F03F506FD8}"/>
          </ac:spMkLst>
        </pc:spChg>
        <pc:spChg chg="add mod">
          <ac:chgData name="Dave Lingebach" userId="8345a2a5-a067-4759-8441-be0dd7848035" providerId="ADAL" clId="{B9507B7D-5FA7-404E-AE0F-1077A325DA1A}" dt="2023-06-21T22:08:57.414" v="3699" actId="1076"/>
          <ac:spMkLst>
            <pc:docMk/>
            <pc:sldMk cId="3700240548" sldId="279"/>
            <ac:spMk id="61" creationId="{C8F6E586-CAE2-5E72-A6BF-D2A6C3BA3EEE}"/>
          </ac:spMkLst>
        </pc:spChg>
        <pc:graphicFrameChg chg="add mod ord modVis replST">
          <ac:chgData name="Dave Lingebach" userId="8345a2a5-a067-4759-8441-be0dd7848035" providerId="ADAL" clId="{B9507B7D-5FA7-404E-AE0F-1077A325DA1A}" dt="2023-06-21T22:08:34.032" v="3693"/>
          <ac:graphicFrameMkLst>
            <pc:docMk/>
            <pc:sldMk cId="3700240548" sldId="279"/>
            <ac:graphicFrameMk id="4" creationId="{06106C0A-C50B-ADBC-161F-D1EDBE09AC58}"/>
          </ac:graphicFrameMkLst>
        </pc:graphicFrameChg>
        <pc:graphicFrameChg chg="add del mod">
          <ac:chgData name="Dave Lingebach" userId="8345a2a5-a067-4759-8441-be0dd7848035" providerId="ADAL" clId="{B9507B7D-5FA7-404E-AE0F-1077A325DA1A}" dt="2023-06-21T22:08:52.688" v="3697"/>
          <ac:graphicFrameMkLst>
            <pc:docMk/>
            <pc:sldMk cId="3700240548" sldId="279"/>
            <ac:graphicFrameMk id="6" creationId="{471A13FD-C29D-AEA5-0BBE-401302F44737}"/>
          </ac:graphicFrameMkLst>
        </pc:graphicFrameChg>
        <pc:graphicFrameChg chg="add del mod">
          <ac:chgData name="Dave Lingebach" userId="8345a2a5-a067-4759-8441-be0dd7848035" providerId="ADAL" clId="{B9507B7D-5FA7-404E-AE0F-1077A325DA1A}" dt="2023-06-21T22:08:52.688" v="3697"/>
          <ac:graphicFrameMkLst>
            <pc:docMk/>
            <pc:sldMk cId="3700240548" sldId="279"/>
            <ac:graphicFrameMk id="32" creationId="{E197A5C4-8659-7F7B-A9E1-510E5B11D2E3}"/>
          </ac:graphicFrameMkLst>
        </pc:graphicFrameChg>
        <pc:graphicFrameChg chg="add del mod">
          <ac:chgData name="Dave Lingebach" userId="8345a2a5-a067-4759-8441-be0dd7848035" providerId="ADAL" clId="{B9507B7D-5FA7-404E-AE0F-1077A325DA1A}" dt="2023-06-21T22:08:52.688" v="3697"/>
          <ac:graphicFrameMkLst>
            <pc:docMk/>
            <pc:sldMk cId="3700240548" sldId="279"/>
            <ac:graphicFrameMk id="33" creationId="{2EE2707B-3768-1671-5FF4-01FFBA7642BB}"/>
          </ac:graphicFrameMkLst>
        </pc:graphicFrameChg>
        <pc:graphicFrameChg chg="add del mod">
          <ac:chgData name="Dave Lingebach" userId="8345a2a5-a067-4759-8441-be0dd7848035" providerId="ADAL" clId="{B9507B7D-5FA7-404E-AE0F-1077A325DA1A}" dt="2023-06-21T22:08:52.688" v="3697"/>
          <ac:graphicFrameMkLst>
            <pc:docMk/>
            <pc:sldMk cId="3700240548" sldId="279"/>
            <ac:graphicFrameMk id="34" creationId="{18811546-C6E7-B8ED-53CF-35F6ACFDC107}"/>
          </ac:graphicFrameMkLst>
        </pc:graphicFrameChg>
        <pc:graphicFrameChg chg="add del mod">
          <ac:chgData name="Dave Lingebach" userId="8345a2a5-a067-4759-8441-be0dd7848035" providerId="ADAL" clId="{B9507B7D-5FA7-404E-AE0F-1077A325DA1A}" dt="2023-06-21T22:08:52.688" v="3697"/>
          <ac:graphicFrameMkLst>
            <pc:docMk/>
            <pc:sldMk cId="3700240548" sldId="279"/>
            <ac:graphicFrameMk id="35" creationId="{04D236BF-D484-2691-F61D-EED5E8F36724}"/>
          </ac:graphicFrameMkLst>
        </pc:graphicFrameChg>
        <pc:graphicFrameChg chg="add mod">
          <ac:chgData name="Dave Lingebach" userId="8345a2a5-a067-4759-8441-be0dd7848035" providerId="ADAL" clId="{B9507B7D-5FA7-404E-AE0F-1077A325DA1A}" dt="2023-06-21T22:08:57.414" v="3699" actId="1076"/>
          <ac:graphicFrameMkLst>
            <pc:docMk/>
            <pc:sldMk cId="3700240548" sldId="279"/>
            <ac:graphicFrameMk id="36" creationId="{60A9C653-3A2D-5A25-02AC-CDFA6F8D94F6}"/>
          </ac:graphicFrameMkLst>
        </pc:graphicFrameChg>
        <pc:graphicFrameChg chg="add mod">
          <ac:chgData name="Dave Lingebach" userId="8345a2a5-a067-4759-8441-be0dd7848035" providerId="ADAL" clId="{B9507B7D-5FA7-404E-AE0F-1077A325DA1A}" dt="2023-06-21T22:08:57.414" v="3699" actId="1076"/>
          <ac:graphicFrameMkLst>
            <pc:docMk/>
            <pc:sldMk cId="3700240548" sldId="279"/>
            <ac:graphicFrameMk id="62" creationId="{1FB9E9ED-8F59-83D3-7E11-CB235C47C1C7}"/>
          </ac:graphicFrameMkLst>
        </pc:graphicFrameChg>
        <pc:graphicFrameChg chg="add mod">
          <ac:chgData name="Dave Lingebach" userId="8345a2a5-a067-4759-8441-be0dd7848035" providerId="ADAL" clId="{B9507B7D-5FA7-404E-AE0F-1077A325DA1A}" dt="2023-06-21T22:08:57.414" v="3699" actId="1076"/>
          <ac:graphicFrameMkLst>
            <pc:docMk/>
            <pc:sldMk cId="3700240548" sldId="279"/>
            <ac:graphicFrameMk id="63" creationId="{3187F452-04BD-1172-E25F-02F4187E8B65}"/>
          </ac:graphicFrameMkLst>
        </pc:graphicFrameChg>
        <pc:graphicFrameChg chg="add mod">
          <ac:chgData name="Dave Lingebach" userId="8345a2a5-a067-4759-8441-be0dd7848035" providerId="ADAL" clId="{B9507B7D-5FA7-404E-AE0F-1077A325DA1A}" dt="2023-06-21T22:08:57.414" v="3699" actId="1076"/>
          <ac:graphicFrameMkLst>
            <pc:docMk/>
            <pc:sldMk cId="3700240548" sldId="279"/>
            <ac:graphicFrameMk id="64" creationId="{D125E0BB-88BD-A5E8-3326-D73B6D1C3283}"/>
          </ac:graphicFrameMkLst>
        </pc:graphicFrameChg>
        <pc:graphicFrameChg chg="add mod">
          <ac:chgData name="Dave Lingebach" userId="8345a2a5-a067-4759-8441-be0dd7848035" providerId="ADAL" clId="{B9507B7D-5FA7-404E-AE0F-1077A325DA1A}" dt="2023-06-21T22:08:57.414" v="3699" actId="1076"/>
          <ac:graphicFrameMkLst>
            <pc:docMk/>
            <pc:sldMk cId="3700240548" sldId="279"/>
            <ac:graphicFrameMk id="65" creationId="{03E9182C-AF50-597A-5B12-3C6E74A25F58}"/>
          </ac:graphicFrameMkLst>
        </pc:graphicFrameChg>
        <pc:picChg chg="add del mod">
          <ac:chgData name="Dave Lingebach" userId="8345a2a5-a067-4759-8441-be0dd7848035" providerId="ADAL" clId="{B9507B7D-5FA7-404E-AE0F-1077A325DA1A}" dt="2023-06-21T22:08:52.688" v="3697"/>
          <ac:picMkLst>
            <pc:docMk/>
            <pc:sldMk cId="3700240548" sldId="279"/>
            <ac:picMk id="17" creationId="{7B601327-58FA-467B-D845-D1A863EDBD33}"/>
          </ac:picMkLst>
        </pc:picChg>
        <pc:picChg chg="add del mod">
          <ac:chgData name="Dave Lingebach" userId="8345a2a5-a067-4759-8441-be0dd7848035" providerId="ADAL" clId="{B9507B7D-5FA7-404E-AE0F-1077A325DA1A}" dt="2023-06-21T22:08:52.688" v="3697"/>
          <ac:picMkLst>
            <pc:docMk/>
            <pc:sldMk cId="3700240548" sldId="279"/>
            <ac:picMk id="18" creationId="{C7E5C71B-9D4E-9FED-2A10-FF67E9A63FBE}"/>
          </ac:picMkLst>
        </pc:picChg>
        <pc:picChg chg="add del mod">
          <ac:chgData name="Dave Lingebach" userId="8345a2a5-a067-4759-8441-be0dd7848035" providerId="ADAL" clId="{B9507B7D-5FA7-404E-AE0F-1077A325DA1A}" dt="2023-06-21T22:08:52.688" v="3697"/>
          <ac:picMkLst>
            <pc:docMk/>
            <pc:sldMk cId="3700240548" sldId="279"/>
            <ac:picMk id="19" creationId="{D7DA1B25-E7F6-EE59-C189-935FC64E99AB}"/>
          </ac:picMkLst>
        </pc:picChg>
        <pc:picChg chg="add del mod">
          <ac:chgData name="Dave Lingebach" userId="8345a2a5-a067-4759-8441-be0dd7848035" providerId="ADAL" clId="{B9507B7D-5FA7-404E-AE0F-1077A325DA1A}" dt="2023-06-21T22:08:52.688" v="3697"/>
          <ac:picMkLst>
            <pc:docMk/>
            <pc:sldMk cId="3700240548" sldId="279"/>
            <ac:picMk id="20" creationId="{AADC296A-7946-7333-D02A-DB4B92547A4C}"/>
          </ac:picMkLst>
        </pc:picChg>
        <pc:picChg chg="add del mod">
          <ac:chgData name="Dave Lingebach" userId="8345a2a5-a067-4759-8441-be0dd7848035" providerId="ADAL" clId="{B9507B7D-5FA7-404E-AE0F-1077A325DA1A}" dt="2023-06-21T22:08:52.688" v="3697"/>
          <ac:picMkLst>
            <pc:docMk/>
            <pc:sldMk cId="3700240548" sldId="279"/>
            <ac:picMk id="21" creationId="{F72591B0-4E0D-CFB6-242D-4D0CF8998215}"/>
          </ac:picMkLst>
        </pc:picChg>
        <pc:picChg chg="add mod">
          <ac:chgData name="Dave Lingebach" userId="8345a2a5-a067-4759-8441-be0dd7848035" providerId="ADAL" clId="{B9507B7D-5FA7-404E-AE0F-1077A325DA1A}" dt="2023-06-21T22:08:57.414" v="3699" actId="1076"/>
          <ac:picMkLst>
            <pc:docMk/>
            <pc:sldMk cId="3700240548" sldId="279"/>
            <ac:picMk id="47" creationId="{3F1A6A15-455B-781A-31E0-2A3F70934DBB}"/>
          </ac:picMkLst>
        </pc:picChg>
        <pc:picChg chg="add mod">
          <ac:chgData name="Dave Lingebach" userId="8345a2a5-a067-4759-8441-be0dd7848035" providerId="ADAL" clId="{B9507B7D-5FA7-404E-AE0F-1077A325DA1A}" dt="2023-06-21T22:08:57.414" v="3699" actId="1076"/>
          <ac:picMkLst>
            <pc:docMk/>
            <pc:sldMk cId="3700240548" sldId="279"/>
            <ac:picMk id="48" creationId="{23C1BBCE-589C-8DFF-D6BE-8FF29FA944D4}"/>
          </ac:picMkLst>
        </pc:picChg>
        <pc:picChg chg="add mod">
          <ac:chgData name="Dave Lingebach" userId="8345a2a5-a067-4759-8441-be0dd7848035" providerId="ADAL" clId="{B9507B7D-5FA7-404E-AE0F-1077A325DA1A}" dt="2023-06-21T22:08:57.414" v="3699" actId="1076"/>
          <ac:picMkLst>
            <pc:docMk/>
            <pc:sldMk cId="3700240548" sldId="279"/>
            <ac:picMk id="49" creationId="{C393252D-6278-A6E9-8711-84246DB64CD8}"/>
          </ac:picMkLst>
        </pc:picChg>
        <pc:picChg chg="add mod">
          <ac:chgData name="Dave Lingebach" userId="8345a2a5-a067-4759-8441-be0dd7848035" providerId="ADAL" clId="{B9507B7D-5FA7-404E-AE0F-1077A325DA1A}" dt="2023-06-21T22:08:57.414" v="3699" actId="1076"/>
          <ac:picMkLst>
            <pc:docMk/>
            <pc:sldMk cId="3700240548" sldId="279"/>
            <ac:picMk id="50" creationId="{8352AD9D-F428-3FE6-2AAD-020B6F18ACF3}"/>
          </ac:picMkLst>
        </pc:picChg>
        <pc:picChg chg="add mod">
          <ac:chgData name="Dave Lingebach" userId="8345a2a5-a067-4759-8441-be0dd7848035" providerId="ADAL" clId="{B9507B7D-5FA7-404E-AE0F-1077A325DA1A}" dt="2023-06-21T22:08:57.414" v="3699" actId="1076"/>
          <ac:picMkLst>
            <pc:docMk/>
            <pc:sldMk cId="3700240548" sldId="279"/>
            <ac:picMk id="51" creationId="{DA91BEC1-419D-17F6-CEBA-0B591AACAC27}"/>
          </ac:picMkLst>
        </pc:picChg>
      </pc:sldChg>
      <pc:sldChg chg="modSp add del mod">
        <pc:chgData name="Dave Lingebach" userId="8345a2a5-a067-4759-8441-be0dd7848035" providerId="ADAL" clId="{B9507B7D-5FA7-404E-AE0F-1077A325DA1A}" dt="2023-06-21T22:13:03.908" v="3754" actId="20577"/>
        <pc:sldMkLst>
          <pc:docMk/>
          <pc:sldMk cId="3154773216" sldId="2147471191"/>
        </pc:sldMkLst>
        <pc:spChg chg="mod">
          <ac:chgData name="Dave Lingebach" userId="8345a2a5-a067-4759-8441-be0dd7848035" providerId="ADAL" clId="{B9507B7D-5FA7-404E-AE0F-1077A325DA1A}" dt="2023-06-21T22:13:03.908" v="3754" actId="20577"/>
          <ac:spMkLst>
            <pc:docMk/>
            <pc:sldMk cId="3154773216" sldId="2147471191"/>
            <ac:spMk id="19" creationId="{0D8A5AA7-F423-CD84-A818-98CF33344358}"/>
          </ac:spMkLst>
        </pc:spChg>
      </pc:sldChg>
      <pc:sldChg chg="modSp add del mod ord">
        <pc:chgData name="Dave Lingebach" userId="8345a2a5-a067-4759-8441-be0dd7848035" providerId="ADAL" clId="{B9507B7D-5FA7-404E-AE0F-1077A325DA1A}" dt="2023-06-21T22:12:57.476" v="3750" actId="20577"/>
        <pc:sldMkLst>
          <pc:docMk/>
          <pc:sldMk cId="2537453598" sldId="2147471192"/>
        </pc:sldMkLst>
        <pc:spChg chg="mod">
          <ac:chgData name="Dave Lingebach" userId="8345a2a5-a067-4759-8441-be0dd7848035" providerId="ADAL" clId="{B9507B7D-5FA7-404E-AE0F-1077A325DA1A}" dt="2023-06-21T22:12:57.476" v="3750" actId="20577"/>
          <ac:spMkLst>
            <pc:docMk/>
            <pc:sldMk cId="2537453598" sldId="2147471192"/>
            <ac:spMk id="19" creationId="{0D8A5AA7-F423-CD84-A818-98CF33344358}"/>
          </ac:spMkLst>
        </pc:spChg>
      </pc:sldChg>
      <pc:sldChg chg="modSp add del mod ord">
        <pc:chgData name="Dave Lingebach" userId="8345a2a5-a067-4759-8441-be0dd7848035" providerId="ADAL" clId="{B9507B7D-5FA7-404E-AE0F-1077A325DA1A}" dt="2023-06-21T22:12:50.232" v="3748" actId="20577"/>
        <pc:sldMkLst>
          <pc:docMk/>
          <pc:sldMk cId="729254105" sldId="2147471194"/>
        </pc:sldMkLst>
        <pc:spChg chg="mod">
          <ac:chgData name="Dave Lingebach" userId="8345a2a5-a067-4759-8441-be0dd7848035" providerId="ADAL" clId="{B9507B7D-5FA7-404E-AE0F-1077A325DA1A}" dt="2023-06-21T22:12:50.232" v="3748" actId="20577"/>
          <ac:spMkLst>
            <pc:docMk/>
            <pc:sldMk cId="729254105" sldId="2147471194"/>
            <ac:spMk id="19" creationId="{0D8A5AA7-F423-CD84-A818-98CF33344358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729254105" sldId="2147471194"/>
            <ac:spMk id="28" creationId="{206B8F0A-EEBA-3290-C549-59C61A60723F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729254105" sldId="2147471194"/>
            <ac:spMk id="31" creationId="{A5226684-222E-9C81-546E-AEA9B61EE51C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729254105" sldId="2147471194"/>
            <ac:spMk id="32" creationId="{3E3EB56D-A068-11E2-8E8D-7B0D11C3FF61}"/>
          </ac:spMkLst>
        </pc:spChg>
      </pc:sldChg>
      <pc:sldChg chg="addSp delSp modSp add del mod">
        <pc:chgData name="Dave Lingebach" userId="8345a2a5-a067-4759-8441-be0dd7848035" providerId="ADAL" clId="{B9507B7D-5FA7-404E-AE0F-1077A325DA1A}" dt="2023-06-21T22:13:00.784" v="3752" actId="20577"/>
        <pc:sldMkLst>
          <pc:docMk/>
          <pc:sldMk cId="2224760465" sldId="2147471213"/>
        </pc:sldMkLst>
        <pc:spChg chg="mod">
          <ac:chgData name="Dave Lingebach" userId="8345a2a5-a067-4759-8441-be0dd7848035" providerId="ADAL" clId="{B9507B7D-5FA7-404E-AE0F-1077A325DA1A}" dt="2023-06-21T22:06:00.097" v="3516" actId="554"/>
          <ac:spMkLst>
            <pc:docMk/>
            <pc:sldMk cId="2224760465" sldId="2147471213"/>
            <ac:spMk id="4" creationId="{8FE127FD-7978-86D6-633D-A89579F7FA48}"/>
          </ac:spMkLst>
        </pc:spChg>
        <pc:spChg chg="mod">
          <ac:chgData name="Dave Lingebach" userId="8345a2a5-a067-4759-8441-be0dd7848035" providerId="ADAL" clId="{B9507B7D-5FA7-404E-AE0F-1077A325DA1A}" dt="2023-06-21T22:06:00.097" v="3516" actId="554"/>
          <ac:spMkLst>
            <pc:docMk/>
            <pc:sldMk cId="2224760465" sldId="2147471213"/>
            <ac:spMk id="6" creationId="{13060D16-6438-9DE2-8542-E2B1DCC6EF37}"/>
          </ac:spMkLst>
        </pc:spChg>
        <pc:spChg chg="mod">
          <ac:chgData name="Dave Lingebach" userId="8345a2a5-a067-4759-8441-be0dd7848035" providerId="ADAL" clId="{B9507B7D-5FA7-404E-AE0F-1077A325DA1A}" dt="2023-06-21T22:06:00.097" v="3516" actId="554"/>
          <ac:spMkLst>
            <pc:docMk/>
            <pc:sldMk cId="2224760465" sldId="2147471213"/>
            <ac:spMk id="7" creationId="{8AA26B12-B52C-8D5C-87EC-8FCD90936016}"/>
          </ac:spMkLst>
        </pc:spChg>
        <pc:spChg chg="mod">
          <ac:chgData name="Dave Lingebach" userId="8345a2a5-a067-4759-8441-be0dd7848035" providerId="ADAL" clId="{B9507B7D-5FA7-404E-AE0F-1077A325DA1A}" dt="2023-06-21T22:06:00.097" v="3516" actId="554"/>
          <ac:spMkLst>
            <pc:docMk/>
            <pc:sldMk cId="2224760465" sldId="2147471213"/>
            <ac:spMk id="10" creationId="{F8B81F4A-B35C-5799-756D-EB76A011220C}"/>
          </ac:spMkLst>
        </pc:spChg>
        <pc:spChg chg="mod">
          <ac:chgData name="Dave Lingebach" userId="8345a2a5-a067-4759-8441-be0dd7848035" providerId="ADAL" clId="{B9507B7D-5FA7-404E-AE0F-1077A325DA1A}" dt="2023-06-21T22:06:00.097" v="3516" actId="554"/>
          <ac:spMkLst>
            <pc:docMk/>
            <pc:sldMk cId="2224760465" sldId="2147471213"/>
            <ac:spMk id="11" creationId="{D1F36362-414D-F1E5-B14F-DF2119D0ABFA}"/>
          </ac:spMkLst>
        </pc:spChg>
        <pc:spChg chg="mod">
          <ac:chgData name="Dave Lingebach" userId="8345a2a5-a067-4759-8441-be0dd7848035" providerId="ADAL" clId="{B9507B7D-5FA7-404E-AE0F-1077A325DA1A}" dt="2023-06-21T22:13:00.784" v="3752" actId="20577"/>
          <ac:spMkLst>
            <pc:docMk/>
            <pc:sldMk cId="2224760465" sldId="2147471213"/>
            <ac:spMk id="19" creationId="{0D8A5AA7-F423-CD84-A818-98CF33344358}"/>
          </ac:spMkLst>
        </pc:spChg>
        <pc:spChg chg="add del">
          <ac:chgData name="Dave Lingebach" userId="8345a2a5-a067-4759-8441-be0dd7848035" providerId="ADAL" clId="{B9507B7D-5FA7-404E-AE0F-1077A325DA1A}" dt="2023-06-21T22:09:18.181" v="3702" actId="478"/>
          <ac:spMkLst>
            <pc:docMk/>
            <pc:sldMk cId="2224760465" sldId="2147471213"/>
            <ac:spMk id="63" creationId="{93738283-9948-C4BA-2F47-BED6AB2719FC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2224760465" sldId="2147471213"/>
            <ac:spMk id="65" creationId="{F08B6B55-B380-F2D3-E30C-8BFF1208ACA2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2224760465" sldId="2147471213"/>
            <ac:spMk id="66" creationId="{9E076390-0E00-D74D-550E-BF2F979EA793}"/>
          </ac:spMkLst>
        </pc:spChg>
        <pc:spChg chg="mod">
          <ac:chgData name="Dave Lingebach" userId="8345a2a5-a067-4759-8441-be0dd7848035" providerId="ADAL" clId="{B9507B7D-5FA7-404E-AE0F-1077A325DA1A}" dt="2023-06-21T22:09:48.102" v="3706"/>
          <ac:spMkLst>
            <pc:docMk/>
            <pc:sldMk cId="2224760465" sldId="2147471213"/>
            <ac:spMk id="77" creationId="{49F05084-A6F4-3564-419B-272F7C9A2637}"/>
          </ac:spMkLst>
        </pc:spChg>
      </pc:sldChg>
      <pc:sldChg chg="new add del">
        <pc:chgData name="Dave Lingebach" userId="8345a2a5-a067-4759-8441-be0dd7848035" providerId="ADAL" clId="{B9507B7D-5FA7-404E-AE0F-1077A325DA1A}" dt="2023-06-21T22:09:29.456" v="3705" actId="47"/>
        <pc:sldMkLst>
          <pc:docMk/>
          <pc:sldMk cId="1354685491" sldId="214747121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24" name="Google Shape;8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51186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24" name="Google Shape;8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43522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24" name="Google Shape;8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02747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24" name="Google Shape;8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68669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3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4.jpeg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5.jpeg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6.jpe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7.jpe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9.jpe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36627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3534802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6609990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95719706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77492227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76157195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15712410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231958397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524522927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8199222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86333495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979912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85888620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64868893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428803750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506635170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613409567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80089573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Page">
  <p:cSld name="1_Cover Pag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0"/>
          <p:cNvSpPr txBox="1">
            <a:spLocks noGrp="1"/>
          </p:cNvSpPr>
          <p:nvPr>
            <p:ph type="title"/>
          </p:nvPr>
        </p:nvSpPr>
        <p:spPr>
          <a:xfrm>
            <a:off x="984421" y="2182619"/>
            <a:ext cx="10647104" cy="187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2" name="Google Shape;22;p50"/>
          <p:cNvSpPr txBox="1">
            <a:spLocks noGrp="1"/>
          </p:cNvSpPr>
          <p:nvPr>
            <p:ph type="body" idx="1"/>
          </p:nvPr>
        </p:nvSpPr>
        <p:spPr>
          <a:xfrm>
            <a:off x="1012848" y="4231138"/>
            <a:ext cx="10647104" cy="31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4787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">
  <p:cSld name="Section Divid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2"/>
          <p:cNvSpPr txBox="1">
            <a:spLocks noGrp="1"/>
          </p:cNvSpPr>
          <p:nvPr>
            <p:ph type="body" idx="1"/>
          </p:nvPr>
        </p:nvSpPr>
        <p:spPr>
          <a:xfrm>
            <a:off x="4924425" y="2547036"/>
            <a:ext cx="2343150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6833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panel no bkgd">
  <p:cSld name="One panel no bkg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6708F9-9FA3-7A71-6B45-57D6089DC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8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6708F9-9FA3-7A71-6B45-57D6089DC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34" name="Google Shape;34;p7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21725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&amp; Callout">
  <p:cSld name="Content &amp; Callou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66DC07-1E94-C3C4-F230-E92FB756F5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79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66DC07-1E94-C3C4-F230-E92FB756F5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Google Shape;38;p8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731519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Google Shape;39;p8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40" name="Google Shape;40;p8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8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128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148187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panel no bkgd">
  <p:cSld name="Two panel no bkgd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15A835-9B49-7DA0-6A15-DD89AF68C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28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15A835-9B49-7DA0-6A15-DD89AF68C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Google Shape;43;p9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Google Shape;45;p9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518212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Google Shape;46;p9"/>
          <p:cNvSpPr txBox="1">
            <a:spLocks noGrp="1"/>
          </p:cNvSpPr>
          <p:nvPr>
            <p:ph type="body" idx="3"/>
          </p:nvPr>
        </p:nvSpPr>
        <p:spPr>
          <a:xfrm>
            <a:off x="640027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4"/>
          </p:nvPr>
        </p:nvSpPr>
        <p:spPr>
          <a:xfrm>
            <a:off x="640027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Google Shape;48;p9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716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panel no bkgd">
  <p:cSld name="Three panel no bkgd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057776-28FF-F082-B813-DC6F6CD309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166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057776-28FF-F082-B813-DC6F6CD30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10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Google Shape;53;p10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54" name="Google Shape;54;p10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10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Google Shape;56;p10"/>
          <p:cNvSpPr txBox="1">
            <a:spLocks noGrp="1"/>
          </p:cNvSpPr>
          <p:nvPr>
            <p:ph type="body" idx="5"/>
          </p:nvPr>
        </p:nvSpPr>
        <p:spPr>
          <a:xfrm>
            <a:off x="4455562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Google Shape;57;p10"/>
          <p:cNvSpPr txBox="1">
            <a:spLocks noGrp="1"/>
          </p:cNvSpPr>
          <p:nvPr>
            <p:ph type="body" idx="6"/>
          </p:nvPr>
        </p:nvSpPr>
        <p:spPr>
          <a:xfrm>
            <a:off x="4455562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61002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o bkgd">
  <p:cSld name="Title Slide no bkgd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97DEF05-3C0F-5734-9A12-B2205F6C15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931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97DEF05-3C0F-5734-9A12-B2205F6C1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oogle Shape;59;p11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0" name="Google Shape;60;p11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" name="Google Shape;61;p11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2" name="Google Shape;62;p11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" name="Google Shape;63;p11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" name="Google Shape;64;p11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" name="Google Shape;65;p11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" name="Google Shape;66;p11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" name="Google Shape;67;p11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" name="Google Shape;68;p11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9" name="Google Shape;69;p11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" name="Google Shape;70;p11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" name="Google Shape;71;p11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" name="Google Shape;72;p11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" name="Google Shape;73;p11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" name="Google Shape;74;p11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" name="Google Shape;75;p11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7" name="Google Shape;77;p11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8" name="Google Shape;78;p11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9" name="Google Shape;79;p11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0" name="Google Shape;80;p11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1" name="Google Shape;81;p11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2" name="Google Shape;82;p11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3" name="Google Shape;83;p11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4" name="Google Shape;84;p11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5" name="Google Shape;85;p11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6" name="Google Shape;86;p11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7" name="Google Shape;87;p11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8" name="Google Shape;88;p11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89" name="Google Shape;89;p11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0" name="Google Shape;90;p11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1" name="Google Shape;91;p11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2" name="Google Shape;92;p11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3" name="Google Shape;93;p11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4" name="Google Shape;94;p11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5" name="Google Shape;95;p11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6" name="Google Shape;96;p11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7" name="Google Shape;97;p11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8" name="Google Shape;98;p11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99" name="Google Shape;99;p11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0" name="Google Shape;100;p11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1" name="Google Shape;101;p11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2" name="Google Shape;102;p11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3" name="Google Shape;103;p11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4" name="Google Shape;104;p11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5" name="Google Shape;105;p11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6" name="Google Shape;106;p11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7" name="Google Shape;107;p11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8" name="Google Shape;108;p11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9" name="Google Shape;109;p11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0" name="Google Shape;110;p11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1" name="Google Shape;111;p11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2" name="Google Shape;112;p11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8" name="Google Shape;118;p11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19" name="Google Shape;119;p11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20" name="Google Shape;120;p11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21" name="Google Shape;121;p11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22" name="Google Shape;122;p11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23" name="Google Shape;123;p11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124" name="Google Shape;124;p11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venir"/>
              <a:buNone/>
              <a:defRPr sz="36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5" name="Google Shape;125;p11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6" name="Google Shape;126;p11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7" name="Google Shape;127;p11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7377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ue dots bkdg">
  <p:cSld name="Title Slide blue dots bkdg">
    <p:bg>
      <p:bgPr>
        <a:solidFill>
          <a:schemeClr val="accen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53A986-5A2F-48FA-E8FC-14D7BBF2B5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782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53A986-5A2F-48FA-E8FC-14D7BBF2B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Google Shape;129;p12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0" name="Google Shape;130;p12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Google Shape;131;p12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32" name="Google Shape;132;p12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33" name="Google Shape;133;p12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5" name="Google Shape;135;p12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6" name="Google Shape;136;p12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7" name="Google Shape;137;p12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8" name="Google Shape;138;p12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39" name="Google Shape;139;p12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0" name="Google Shape;140;p12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1" name="Google Shape;141;p12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2" name="Google Shape;142;p12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3" name="Google Shape;143;p12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4" name="Google Shape;144;p12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5" name="Google Shape;145;p12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6" name="Google Shape;146;p12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7" name="Google Shape;147;p12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8" name="Google Shape;148;p12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49" name="Google Shape;149;p12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0" name="Google Shape;150;p12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1" name="Google Shape;151;p12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2" name="Google Shape;152;p12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3" name="Google Shape;153;p12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4" name="Google Shape;154;p12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7" name="Google Shape;157;p12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8" name="Google Shape;158;p12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59" name="Google Shape;159;p12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0" name="Google Shape;160;p12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1" name="Google Shape;161;p12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2" name="Google Shape;162;p12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3" name="Google Shape;163;p12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4" name="Google Shape;164;p12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5" name="Google Shape;165;p12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6" name="Google Shape;166;p12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7" name="Google Shape;167;p12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8" name="Google Shape;168;p12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69" name="Google Shape;169;p12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0" name="Google Shape;170;p12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1" name="Google Shape;171;p12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2" name="Google Shape;172;p12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197" name="Google Shape;197;p12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1302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dark blue bckgd">
  <p:cSld name="Title Slide dark blue bckgd">
    <p:bg>
      <p:bgPr>
        <a:solidFill>
          <a:schemeClr val="accent2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5F5B2AA-315B-023F-2D9A-9051F2636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19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5F5B2AA-315B-023F-2D9A-9051F2636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Google Shape;199;p13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0" name="Google Shape;200;p13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1" name="Google Shape;201;p13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02" name="Google Shape;202;p13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03" name="Google Shape;203;p13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4" name="Google Shape;204;p13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5" name="Google Shape;205;p13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6" name="Google Shape;206;p13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7" name="Google Shape;207;p13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8" name="Google Shape;208;p13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09" name="Google Shape;209;p13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0" name="Google Shape;210;p13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1" name="Google Shape;211;p13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2" name="Google Shape;212;p13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3" name="Google Shape;213;p13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4" name="Google Shape;214;p13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5" name="Google Shape;215;p13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6" name="Google Shape;216;p13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7" name="Google Shape;217;p13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8" name="Google Shape;218;p13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19" name="Google Shape;219;p13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0" name="Google Shape;220;p13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1" name="Google Shape;221;p13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2" name="Google Shape;222;p13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3" name="Google Shape;223;p13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4" name="Google Shape;224;p13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5" name="Google Shape;225;p13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6" name="Google Shape;226;p13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7" name="Google Shape;227;p13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8" name="Google Shape;228;p13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29" name="Google Shape;229;p13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0" name="Google Shape;230;p13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1" name="Google Shape;231;p13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2" name="Google Shape;232;p13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3" name="Google Shape;233;p13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4" name="Google Shape;234;p13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5" name="Google Shape;235;p13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6" name="Google Shape;236;p13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7" name="Google Shape;237;p13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8" name="Google Shape;238;p13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39" name="Google Shape;239;p13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0" name="Google Shape;240;p13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1" name="Google Shape;241;p13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2" name="Google Shape;242;p13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3" name="Google Shape;243;p13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4" name="Google Shape;244;p13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5" name="Google Shape;245;p13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6" name="Google Shape;246;p13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7" name="Google Shape;247;p13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8" name="Google Shape;248;p13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9" name="Google Shape;249;p13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0" name="Google Shape;250;p13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1" name="Google Shape;251;p13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2" name="Google Shape;252;p13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3" name="Google Shape;253;p13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4" name="Google Shape;254;p13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5" name="Google Shape;255;p13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6" name="Google Shape;256;p13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7" name="Google Shape;257;p13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8" name="Google Shape;258;p13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9" name="Google Shape;259;p13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0" name="Google Shape;260;p13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1" name="Google Shape;261;p13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2" name="Google Shape;262;p13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3" name="Google Shape;263;p13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4" name="Google Shape;264;p13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5" name="Google Shape;265;p13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6" name="Google Shape;266;p13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267" name="Google Shape;267;p13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4857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Slide blue dots bkdg">
  <p:cSld name="6_Title Slide blue dots bkdg">
    <p:bg>
      <p:bgPr>
        <a:solidFill>
          <a:schemeClr val="accent1"/>
        </a:solidFill>
        <a:effectLst/>
      </p:bgPr>
    </p:bg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ACA7E3-4661-A1FD-DA8A-0C1AD877A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700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ACA7E3-4661-A1FD-DA8A-0C1AD877A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9" name="Google Shape;269;p14" descr="Background pattern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14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1" name="Google Shape;271;p14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2" name="Google Shape;272;p14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73" name="Google Shape;273;p14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74" name="Google Shape;274;p14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75" name="Google Shape;275;p14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76" name="Google Shape;276;p14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77" name="Google Shape;277;p14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78" name="Google Shape;278;p14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79" name="Google Shape;279;p14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0" name="Google Shape;280;p14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1" name="Google Shape;281;p14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2" name="Google Shape;282;p14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3" name="Google Shape;283;p14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4" name="Google Shape;284;p14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5" name="Google Shape;285;p14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6" name="Google Shape;286;p14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7" name="Google Shape;287;p14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8" name="Google Shape;288;p14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0" name="Google Shape;290;p14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1" name="Google Shape;291;p14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2" name="Google Shape;292;p14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3" name="Google Shape;293;p14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4" name="Google Shape;294;p14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5" name="Google Shape;295;p14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6" name="Google Shape;296;p14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7" name="Google Shape;297;p14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8" name="Google Shape;298;p14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99" name="Google Shape;299;p14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0" name="Google Shape;300;p14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1" name="Google Shape;301;p14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2" name="Google Shape;302;p14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3" name="Google Shape;303;p14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4" name="Google Shape;304;p14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5" name="Google Shape;305;p14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6" name="Google Shape;306;p14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7" name="Google Shape;307;p14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8" name="Google Shape;308;p14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09" name="Google Shape;309;p14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0" name="Google Shape;310;p14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1" name="Google Shape;311;p14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2" name="Google Shape;312;p14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3" name="Google Shape;313;p14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4" name="Google Shape;314;p14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5" name="Google Shape;315;p14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6" name="Google Shape;316;p14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7" name="Google Shape;317;p14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8" name="Google Shape;318;p14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19" name="Google Shape;319;p14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0" name="Google Shape;320;p14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1" name="Google Shape;321;p14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2" name="Google Shape;322;p14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3" name="Google Shape;323;p14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4" name="Google Shape;324;p14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5" name="Google Shape;325;p14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6" name="Google Shape;326;p14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7" name="Google Shape;327;p14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8" name="Google Shape;328;p14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29" name="Google Shape;329;p14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0" name="Google Shape;330;p14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1" name="Google Shape;331;p14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2" name="Google Shape;332;p14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3" name="Google Shape;333;p14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4" name="Google Shape;334;p14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5" name="Google Shape;335;p14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6" name="Google Shape;336;p14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37" name="Google Shape;337;p14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338" name="Google Shape;338;p14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620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Slide blue dots bkdg">
  <p:cSld name="7_Title Slide blue dots bkdg">
    <p:bg>
      <p:bgPr>
        <a:solidFill>
          <a:schemeClr val="accent1"/>
        </a:solidFill>
        <a:effectLst/>
      </p:bgPr>
    </p:bg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B88CC5-8E04-5582-EE98-58DB4874A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176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B88CC5-8E04-5582-EE98-58DB4874A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0" name="Google Shape;340;p15" descr="A picture containing background pattern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Google Shape;341;p15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2" name="Google Shape;342;p15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3" name="Google Shape;343;p15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344" name="Google Shape;344;p15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345" name="Google Shape;345;p15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46" name="Google Shape;346;p15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47" name="Google Shape;347;p15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48" name="Google Shape;348;p15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49" name="Google Shape;349;p15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0" name="Google Shape;350;p15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1" name="Google Shape;351;p15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2" name="Google Shape;352;p15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3" name="Google Shape;353;p15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4" name="Google Shape;354;p15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5" name="Google Shape;355;p15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6" name="Google Shape;356;p15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7" name="Google Shape;357;p15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8" name="Google Shape;358;p15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59" name="Google Shape;359;p15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0" name="Google Shape;360;p15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1" name="Google Shape;361;p15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2" name="Google Shape;362;p15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3" name="Google Shape;363;p15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4" name="Google Shape;364;p15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5" name="Google Shape;365;p15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6" name="Google Shape;366;p15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7" name="Google Shape;367;p15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8" name="Google Shape;368;p15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69" name="Google Shape;369;p15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0" name="Google Shape;370;p15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1" name="Google Shape;371;p15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2" name="Google Shape;372;p15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3" name="Google Shape;373;p15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4" name="Google Shape;374;p15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5" name="Google Shape;375;p15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6" name="Google Shape;376;p15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7" name="Google Shape;377;p15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8" name="Google Shape;378;p15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79" name="Google Shape;379;p15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0" name="Google Shape;380;p15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1" name="Google Shape;381;p15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2" name="Google Shape;382;p15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3" name="Google Shape;383;p15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4" name="Google Shape;384;p15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5" name="Google Shape;385;p15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6" name="Google Shape;386;p15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7" name="Google Shape;387;p15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8" name="Google Shape;388;p15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89" name="Google Shape;389;p15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0" name="Google Shape;390;p15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1" name="Google Shape;391;p15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2" name="Google Shape;392;p15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3" name="Google Shape;393;p15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4" name="Google Shape;394;p15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5" name="Google Shape;395;p15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6" name="Google Shape;396;p15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7" name="Google Shape;397;p15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8" name="Google Shape;398;p15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399" name="Google Shape;399;p15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0" name="Google Shape;400;p15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1" name="Google Shape;401;p15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2" name="Google Shape;402;p15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3" name="Google Shape;403;p15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4" name="Google Shape;404;p15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5" name="Google Shape;405;p15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6" name="Google Shape;406;p15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7" name="Google Shape;407;p15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08" name="Google Shape;408;p15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409" name="Google Shape;409;p15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1587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 blue dots bkdg">
  <p:cSld name="3_Title Slide blue dots bkdg">
    <p:bg>
      <p:bgPr>
        <a:solidFill>
          <a:schemeClr val="accent1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D53F2-746D-0BE4-538E-81624EED2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0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D53F2-746D-0BE4-538E-81624EED2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" name="Google Shape;411;p16" descr="A picture containing text, night, dark, lit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12" name="Google Shape;412;p16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13" name="Google Shape;413;p16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4" name="Google Shape;414;p16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15" name="Google Shape;415;p16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16" name="Google Shape;416;p16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17" name="Google Shape;417;p16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18" name="Google Shape;418;p16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19" name="Google Shape;419;p16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0" name="Google Shape;420;p16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1" name="Google Shape;421;p16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2" name="Google Shape;422;p16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3" name="Google Shape;423;p16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4" name="Google Shape;424;p16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5" name="Google Shape;425;p16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6" name="Google Shape;426;p16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7" name="Google Shape;427;p16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8" name="Google Shape;428;p16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29" name="Google Shape;429;p16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0" name="Google Shape;430;p16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1" name="Google Shape;431;p16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2" name="Google Shape;432;p16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3" name="Google Shape;433;p16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4" name="Google Shape;434;p16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5" name="Google Shape;435;p16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6" name="Google Shape;436;p16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7" name="Google Shape;437;p16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8" name="Google Shape;438;p16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39" name="Google Shape;439;p16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0" name="Google Shape;440;p16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1" name="Google Shape;441;p16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2" name="Google Shape;442;p16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3" name="Google Shape;443;p16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4" name="Google Shape;444;p16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5" name="Google Shape;445;p16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6" name="Google Shape;446;p16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7" name="Google Shape;447;p16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8" name="Google Shape;448;p16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49" name="Google Shape;449;p16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0" name="Google Shape;450;p16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1" name="Google Shape;451;p16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2" name="Google Shape;452;p16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3" name="Google Shape;453;p16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4" name="Google Shape;454;p16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5" name="Google Shape;455;p16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6" name="Google Shape;456;p16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7" name="Google Shape;457;p16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8" name="Google Shape;458;p16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59" name="Google Shape;459;p16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0" name="Google Shape;460;p16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1" name="Google Shape;461;p16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2" name="Google Shape;462;p16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3" name="Google Shape;463;p16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4" name="Google Shape;464;p16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5" name="Google Shape;465;p16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6" name="Google Shape;466;p16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7" name="Google Shape;467;p16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8" name="Google Shape;468;p16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69" name="Google Shape;469;p16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0" name="Google Shape;470;p16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1" name="Google Shape;471;p16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2" name="Google Shape;472;p16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3" name="Google Shape;473;p16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4" name="Google Shape;474;p16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5" name="Google Shape;475;p16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6" name="Google Shape;476;p16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7" name="Google Shape;477;p16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8" name="Google Shape;478;p16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79" name="Google Shape;479;p16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480" name="Google Shape;480;p16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1888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le Slide blue dots bkdg">
  <p:cSld name="4_Title Slide blue dots bkdg">
    <p:bg>
      <p:bgPr>
        <a:solidFill>
          <a:schemeClr val="accent1"/>
        </a:solidFill>
        <a:effectLst/>
      </p:bgPr>
    </p:bg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DC630A1-1BF8-2DF3-8A70-27F63A49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604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DC630A1-1BF8-2DF3-8A70-27F63A49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2" name="Google Shape;482;p17" descr="A picture containing text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3" name="Google Shape;483;p17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84" name="Google Shape;484;p17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5" name="Google Shape;485;p17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86" name="Google Shape;486;p17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87" name="Google Shape;487;p17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88" name="Google Shape;488;p17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89" name="Google Shape;489;p17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0" name="Google Shape;490;p17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1" name="Google Shape;491;p17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2" name="Google Shape;492;p17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3" name="Google Shape;493;p17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4" name="Google Shape;494;p17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5" name="Google Shape;495;p17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6" name="Google Shape;496;p17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7" name="Google Shape;497;p17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8" name="Google Shape;498;p17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499" name="Google Shape;499;p17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0" name="Google Shape;500;p17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1" name="Google Shape;501;p17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2" name="Google Shape;502;p17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3" name="Google Shape;503;p17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4" name="Google Shape;504;p17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5" name="Google Shape;505;p17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6" name="Google Shape;506;p17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7" name="Google Shape;507;p17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8" name="Google Shape;508;p17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09" name="Google Shape;509;p17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0" name="Google Shape;510;p17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1" name="Google Shape;511;p17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2" name="Google Shape;512;p17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3" name="Google Shape;513;p17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4" name="Google Shape;514;p17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5" name="Google Shape;515;p17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6" name="Google Shape;516;p17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7" name="Google Shape;517;p17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8" name="Google Shape;518;p17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19" name="Google Shape;519;p17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0" name="Google Shape;520;p17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1" name="Google Shape;521;p17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2" name="Google Shape;522;p17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3" name="Google Shape;523;p17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4" name="Google Shape;524;p17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5" name="Google Shape;525;p17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6" name="Google Shape;526;p17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7" name="Google Shape;527;p17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8" name="Google Shape;528;p17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29" name="Google Shape;529;p17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0" name="Google Shape;530;p17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1" name="Google Shape;531;p17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2" name="Google Shape;532;p17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3" name="Google Shape;533;p17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4" name="Google Shape;534;p17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5" name="Google Shape;535;p17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6" name="Google Shape;536;p17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7" name="Google Shape;537;p17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8" name="Google Shape;538;p17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39" name="Google Shape;539;p17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0" name="Google Shape;540;p17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1" name="Google Shape;541;p17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2" name="Google Shape;542;p17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3" name="Google Shape;543;p17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4" name="Google Shape;544;p17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5" name="Google Shape;545;p17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6" name="Google Shape;546;p17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7" name="Google Shape;547;p17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8" name="Google Shape;548;p17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49" name="Google Shape;549;p17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50" name="Google Shape;550;p17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551" name="Google Shape;551;p17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51764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 blue dots bkdg">
  <p:cSld name="5_Title Slide blue dots bkdg">
    <p:bg>
      <p:bgPr>
        <a:solidFill>
          <a:schemeClr val="accent1"/>
        </a:solidFill>
        <a:effectLst/>
      </p:bgPr>
    </p:bg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4A1342-44CD-D3B5-139E-8A58AFFC6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3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4A1342-44CD-D3B5-139E-8A58AFFC6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3" name="Google Shape;553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18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55" name="Google Shape;555;p18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6" name="Google Shape;556;p18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557" name="Google Shape;557;p18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558" name="Google Shape;558;p18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59" name="Google Shape;559;p18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0" name="Google Shape;560;p18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1" name="Google Shape;561;p18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2" name="Google Shape;562;p18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3" name="Google Shape;563;p18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4" name="Google Shape;564;p18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5" name="Google Shape;565;p18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6" name="Google Shape;566;p18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7" name="Google Shape;567;p18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8" name="Google Shape;568;p18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69" name="Google Shape;569;p18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0" name="Google Shape;570;p18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1" name="Google Shape;571;p18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2" name="Google Shape;572;p18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3" name="Google Shape;573;p18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4" name="Google Shape;574;p18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5" name="Google Shape;575;p18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6" name="Google Shape;576;p18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7" name="Google Shape;577;p18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8" name="Google Shape;578;p18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79" name="Google Shape;579;p18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0" name="Google Shape;580;p18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1" name="Google Shape;581;p18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2" name="Google Shape;582;p18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3" name="Google Shape;583;p18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4" name="Google Shape;584;p18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5" name="Google Shape;585;p18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6" name="Google Shape;586;p18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7" name="Google Shape;587;p18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8" name="Google Shape;588;p18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89" name="Google Shape;589;p18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0" name="Google Shape;590;p18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1" name="Google Shape;591;p18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2" name="Google Shape;592;p18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3" name="Google Shape;593;p18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4" name="Google Shape;594;p18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5" name="Google Shape;595;p18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6" name="Google Shape;596;p18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7" name="Google Shape;597;p18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8" name="Google Shape;598;p18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599" name="Google Shape;599;p18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0" name="Google Shape;600;p18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1" name="Google Shape;601;p18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2" name="Google Shape;602;p18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3" name="Google Shape;603;p18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4" name="Google Shape;604;p18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5" name="Google Shape;605;p18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6" name="Google Shape;606;p18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7" name="Google Shape;607;p18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8" name="Google Shape;608;p18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09" name="Google Shape;609;p18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0" name="Google Shape;610;p18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1" name="Google Shape;611;p18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2" name="Google Shape;612;p18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3" name="Google Shape;613;p18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4" name="Google Shape;614;p18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5" name="Google Shape;615;p18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6" name="Google Shape;616;p18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7" name="Google Shape;617;p18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8" name="Google Shape;618;p18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19" name="Google Shape;619;p18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20" name="Google Shape;620;p18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21" name="Google Shape;621;p18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622" name="Google Shape;622;p18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614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417308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blue dots bkdg">
  <p:cSld name="1_Title Slide blue dots bkdg">
    <p:bg>
      <p:bgPr>
        <a:solidFill>
          <a:schemeClr val="accent1"/>
        </a:solidFill>
        <a:effectLst/>
      </p:bgPr>
    </p:bg>
    <p:spTree>
      <p:nvGrpSpPr>
        <p:cNvPr id="1" name="Shape 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CD1C1B-9F66-7E40-7030-9409F9999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21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CD1C1B-9F66-7E40-7030-9409F9999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4" name="Google Shape;624;p1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19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26" name="Google Shape;626;p19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7" name="Google Shape;627;p19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28" name="Google Shape;628;p19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29" name="Google Shape;629;p19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0" name="Google Shape;630;p19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1" name="Google Shape;631;p19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2" name="Google Shape;632;p19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3" name="Google Shape;633;p19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4" name="Google Shape;634;p19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5" name="Google Shape;635;p19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6" name="Google Shape;636;p19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7" name="Google Shape;637;p19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8" name="Google Shape;638;p19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39" name="Google Shape;639;p19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0" name="Google Shape;640;p19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1" name="Google Shape;641;p19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2" name="Google Shape;642;p19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3" name="Google Shape;643;p19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4" name="Google Shape;644;p19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5" name="Google Shape;645;p19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6" name="Google Shape;646;p19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7" name="Google Shape;647;p19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8" name="Google Shape;648;p19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49" name="Google Shape;649;p19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0" name="Google Shape;650;p19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1" name="Google Shape;651;p19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2" name="Google Shape;652;p19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3" name="Google Shape;653;p19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4" name="Google Shape;654;p19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5" name="Google Shape;655;p19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6" name="Google Shape;656;p19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7" name="Google Shape;657;p19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8" name="Google Shape;658;p19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59" name="Google Shape;659;p19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0" name="Google Shape;660;p19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1" name="Google Shape;661;p19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2" name="Google Shape;662;p19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3" name="Google Shape;663;p19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4" name="Google Shape;664;p19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5" name="Google Shape;665;p19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6" name="Google Shape;666;p19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7" name="Google Shape;667;p19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8" name="Google Shape;668;p19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69" name="Google Shape;669;p19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0" name="Google Shape;670;p19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1" name="Google Shape;671;p19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2" name="Google Shape;672;p19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3" name="Google Shape;673;p19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4" name="Google Shape;674;p19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5" name="Google Shape;675;p19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6" name="Google Shape;676;p19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7" name="Google Shape;677;p19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8" name="Google Shape;678;p19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79" name="Google Shape;679;p19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0" name="Google Shape;680;p19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1" name="Google Shape;681;p19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2" name="Google Shape;682;p19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3" name="Google Shape;683;p19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4" name="Google Shape;684;p19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5" name="Google Shape;685;p19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6" name="Google Shape;686;p19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7" name="Google Shape;687;p19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8" name="Google Shape;688;p19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89" name="Google Shape;689;p19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90" name="Google Shape;690;p19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91" name="Google Shape;691;p19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692" name="Google Shape;692;p19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693" name="Google Shape;693;p19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379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blue dots bkdg">
  <p:cSld name="2_Title Slide blue dots bkdg">
    <p:bg>
      <p:bgPr>
        <a:solidFill>
          <a:schemeClr val="accent1"/>
        </a:solidFill>
        <a:effectLst/>
      </p:bgPr>
    </p:bg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BCA814-4EEC-65A9-3A9A-E888EC46D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13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BCA814-4EEC-65A9-3A9A-E888EC46D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5" name="Google Shape;695;p20" descr="A picture containing text, night, road, dark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96" name="Google Shape;696;p20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97" name="Google Shape;697;p20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8" name="Google Shape;698;p20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99" name="Google Shape;699;p20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00" name="Google Shape;700;p20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1" name="Google Shape;701;p20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2" name="Google Shape;702;p20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3" name="Google Shape;703;p20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4" name="Google Shape;704;p20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5" name="Google Shape;705;p20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6" name="Google Shape;706;p20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7" name="Google Shape;707;p20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8" name="Google Shape;708;p20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09" name="Google Shape;709;p20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0" name="Google Shape;710;p20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1" name="Google Shape;711;p20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2" name="Google Shape;712;p20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3" name="Google Shape;713;p20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4" name="Google Shape;714;p20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5" name="Google Shape;715;p20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6" name="Google Shape;716;p20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7" name="Google Shape;717;p20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8" name="Google Shape;718;p20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19" name="Google Shape;719;p20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0" name="Google Shape;720;p20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1" name="Google Shape;721;p20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2" name="Google Shape;722;p20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3" name="Google Shape;723;p20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4" name="Google Shape;724;p20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5" name="Google Shape;725;p20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6" name="Google Shape;726;p20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7" name="Google Shape;727;p20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8" name="Google Shape;728;p20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29" name="Google Shape;729;p20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0" name="Google Shape;730;p20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1" name="Google Shape;731;p20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2" name="Google Shape;732;p20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3" name="Google Shape;733;p20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4" name="Google Shape;734;p20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5" name="Google Shape;735;p20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6" name="Google Shape;736;p20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7" name="Google Shape;737;p20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8" name="Google Shape;738;p20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39" name="Google Shape;739;p20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0" name="Google Shape;740;p20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1" name="Google Shape;741;p20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2" name="Google Shape;742;p20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3" name="Google Shape;743;p20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4" name="Google Shape;744;p20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5" name="Google Shape;745;p20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6" name="Google Shape;746;p20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7" name="Google Shape;747;p20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8" name="Google Shape;748;p20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49" name="Google Shape;749;p20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0" name="Google Shape;750;p20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1" name="Google Shape;751;p20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2" name="Google Shape;752;p20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3" name="Google Shape;753;p20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4" name="Google Shape;754;p20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5" name="Google Shape;755;p20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6" name="Google Shape;756;p20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7" name="Google Shape;757;p20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8" name="Google Shape;758;p20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59" name="Google Shape;759;p20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0" name="Google Shape;760;p20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1" name="Google Shape;761;p20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2" name="Google Shape;762;p20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763" name="Google Shape;763;p20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764" name="Google Shape;764;p20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2043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BF72CA-8A9C-E80E-9624-71CE579F6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9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BF72CA-8A9C-E80E-9624-71CE579F6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6" name="Google Shape;766;p21"/>
          <p:cNvSpPr txBox="1">
            <a:spLocks noGrp="1"/>
          </p:cNvSpPr>
          <p:nvPr>
            <p:ph type="body" idx="1"/>
          </p:nvPr>
        </p:nvSpPr>
        <p:spPr>
          <a:xfrm>
            <a:off x="1802541" y="2186099"/>
            <a:ext cx="1354138" cy="273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B0B"/>
              </a:buClr>
              <a:buSzPts val="5400"/>
              <a:buFont typeface="Arial"/>
              <a:buNone/>
              <a:defRPr sz="5400" b="1">
                <a:solidFill>
                  <a:srgbClr val="000B0B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7" name="Google Shape;767;p21"/>
          <p:cNvSpPr txBox="1">
            <a:spLocks noGrp="1"/>
          </p:cNvSpPr>
          <p:nvPr>
            <p:ph type="body" idx="2"/>
          </p:nvPr>
        </p:nvSpPr>
        <p:spPr>
          <a:xfrm>
            <a:off x="3209681" y="2331426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8" name="Google Shape;768;p21"/>
          <p:cNvSpPr txBox="1">
            <a:spLocks noGrp="1"/>
          </p:cNvSpPr>
          <p:nvPr>
            <p:ph type="body" idx="3"/>
          </p:nvPr>
        </p:nvSpPr>
        <p:spPr>
          <a:xfrm>
            <a:off x="3209681" y="3209931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9" name="Google Shape;769;p21"/>
          <p:cNvSpPr txBox="1">
            <a:spLocks noGrp="1"/>
          </p:cNvSpPr>
          <p:nvPr>
            <p:ph type="body" idx="4"/>
          </p:nvPr>
        </p:nvSpPr>
        <p:spPr>
          <a:xfrm>
            <a:off x="3209681" y="4094298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0" name="Google Shape;770;p21"/>
          <p:cNvSpPr txBox="1">
            <a:spLocks noGrp="1"/>
          </p:cNvSpPr>
          <p:nvPr>
            <p:ph type="body" idx="5"/>
          </p:nvPr>
        </p:nvSpPr>
        <p:spPr>
          <a:xfrm>
            <a:off x="1811587" y="1493698"/>
            <a:ext cx="10971942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83498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dark blue bkgd">
  <p:cSld name="Divider dark blue bkgd">
    <p:bg>
      <p:bgPr>
        <a:solidFill>
          <a:srgbClr val="071E31"/>
        </a:solidFill>
        <a:effectLst/>
      </p:bgPr>
    </p:bg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905F92-87FE-9F9F-569E-1191889CC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408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B905F92-87FE-9F9F-569E-1191889CC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2" name="Google Shape;772;p22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3" name="Google Shape;773;p22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799;p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6C57C04-191F-0887-1731-ECDB6E93DF09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b="23462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48453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blue bkgd">
  <p:cSld name="Divider blue bkgd">
    <p:bg>
      <p:bgPr>
        <a:solidFill>
          <a:schemeClr val="accent2"/>
        </a:solidFill>
        <a:effectLst/>
      </p:bgPr>
    </p:bg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FA33E7-7358-702B-8545-D558C67A2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3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FA33E7-7358-702B-8545-D558C67A2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5" name="Google Shape;775;p23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6" name="Google Shape;776;p23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2058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 light blue bkgd">
  <p:cSld name="Divider light blue bkgd">
    <p:bg>
      <p:bgPr>
        <a:solidFill>
          <a:schemeClr val="accent3"/>
        </a:solidFill>
        <a:effectLst/>
      </p:bgPr>
    </p:bg>
    <p:spTree>
      <p:nvGrpSpPr>
        <p:cNvPr id="1" name="Shape 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C2D07D-B25F-08B5-4209-A1ABB7A22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0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C2D07D-B25F-08B5-4209-A1ABB7A22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8" name="Google Shape;778;p24"/>
          <p:cNvSpPr txBox="1">
            <a:spLocks noGrp="1"/>
          </p:cNvSpPr>
          <p:nvPr>
            <p:ph type="body" idx="1"/>
          </p:nvPr>
        </p:nvSpPr>
        <p:spPr>
          <a:xfrm>
            <a:off x="2455817" y="2533650"/>
            <a:ext cx="7310483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9" name="Google Shape;779;p24"/>
          <p:cNvSpPr txBox="1">
            <a:spLocks noGrp="1"/>
          </p:cNvSpPr>
          <p:nvPr>
            <p:ph type="body" idx="2"/>
          </p:nvPr>
        </p:nvSpPr>
        <p:spPr>
          <a:xfrm>
            <a:off x="609601" y="2533650"/>
            <a:ext cx="870858" cy="875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4"/>
              </a:buClr>
              <a:buSzPts val="4400"/>
              <a:buNone/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7169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right dark blue bkgd">
  <p:cSld name="Big Stmnt right dark blue bkgd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021F5A-7B1C-E57B-0E36-22F333B16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354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021F5A-7B1C-E57B-0E36-22F333B16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1" name="Google Shape;781;p25"/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82" name="Google Shape;782;p25"/>
          <p:cNvSpPr txBox="1">
            <a:spLocks noGrp="1"/>
          </p:cNvSpPr>
          <p:nvPr>
            <p:ph type="body" idx="1"/>
          </p:nvPr>
        </p:nvSpPr>
        <p:spPr>
          <a:xfrm>
            <a:off x="8424742" y="1608083"/>
            <a:ext cx="3226676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3" name="Google Shape;783;p25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638048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84" name="Google Shape;784;p25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785" name="Google Shape;785;p25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86" name="Google Shape;786;p25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5547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right light blue bkgd">
  <p:cSld name="Big Stmnt right light blue bkgd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3F9DD0-0E98-EA7E-8167-1194AC9E0B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09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3F9DD0-0E98-EA7E-8167-1194AC9E0B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" name="Google Shape;788;p26"/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89" name="Google Shape;789;p26"/>
          <p:cNvSpPr txBox="1">
            <a:spLocks noGrp="1"/>
          </p:cNvSpPr>
          <p:nvPr>
            <p:ph type="body" idx="1"/>
          </p:nvPr>
        </p:nvSpPr>
        <p:spPr>
          <a:xfrm>
            <a:off x="8424742" y="1608083"/>
            <a:ext cx="3226676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0" name="Google Shape;790;p26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638048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91" name="Google Shape;791;p26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792" name="Google Shape;792;p26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93" name="Google Shape;793;p26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505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light blue bkgd">
  <p:cSld name="Big Stmnt left light blue bkgd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478419-D524-0B31-DBC9-0502C2EE66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5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478419-D524-0B31-DBC9-0502C2EE6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2" name="Google Shape;802;p28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03" name="Google Shape;803;p28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4" name="Google Shape;804;p28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05" name="Google Shape;805;p28" descr="A black and white logo&#10;&#10;Description automatically generated with low confidence"/>
          <p:cNvPicPr preferRelativeResize="0"/>
          <p:nvPr/>
        </p:nvPicPr>
        <p:blipFill rotWithShape="1">
          <a:blip r:embed="rId5">
            <a:alphaModFix/>
          </a:blip>
          <a:srcRect b="23462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6" name="Google Shape;806;p28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 dirty="0">
              <a:solidFill>
                <a:schemeClr val="dk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07" name="Google Shape;807;p28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630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se Study">
  <p:cSld name="Case Study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33D565-BDDC-CC2D-82C3-0AB17E1999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946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33D565-BDDC-CC2D-82C3-0AB17E199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" name="Google Shape;809;p29"/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10" name="Google Shape;810;p29"/>
          <p:cNvSpPr txBox="1">
            <a:spLocks noGrp="1"/>
          </p:cNvSpPr>
          <p:nvPr>
            <p:ph type="body" idx="1"/>
          </p:nvPr>
        </p:nvSpPr>
        <p:spPr>
          <a:xfrm>
            <a:off x="9343697" y="1608083"/>
            <a:ext cx="2238704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1" name="Google Shape;811;p29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730469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12" name="Google Shape;812;p29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0110" y="6396759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13" name="Google Shape;813;p29"/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 dirty="0">
              <a:solidFill>
                <a:schemeClr val="lt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14" name="Google Shape;814;p29"/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247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95036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539303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1818514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1914968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45680828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1.emf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2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0464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4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CA9E52-4408-08BE-89A7-22620EAF7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5492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CA9E52-4408-08BE-89A7-22620EAF7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venir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Char char="−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cxnSp>
        <p:nvCxnSpPr>
          <p:cNvPr id="12" name="Google Shape;12;p4"/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13;p4"/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 b="0" i="0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‹#›</a:t>
            </a:fld>
            <a:endParaRPr sz="1100" b="0" i="0" u="none" strike="noStrike" cap="none" dirty="0">
              <a:solidFill>
                <a:schemeClr val="dk1"/>
              </a:solidFill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14" name="Google Shape;14;p4" descr="Logo&#10;&#10;Description automatically generated"/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4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1" u="none" strike="noStrike" cap="none">
                <a:solidFill>
                  <a:schemeClr val="dk1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 lang="en-US" dirty="0"/>
          </a:p>
        </p:txBody>
      </p:sp>
      <p:sp>
        <p:nvSpPr>
          <p:cNvPr id="16" name="Google Shape;16;p4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rgbClr val="A0A0A0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  <a:endParaRPr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43942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venir Next LT Pro" panose="020B0504020202020204" pitchFamily="34" charset="0"/>
          <a:ea typeface="Avenir Next LT Pro" panose="020B0504020202020204" pitchFamily="34" charset="0"/>
          <a:cs typeface="Arial"/>
          <a:sym typeface="Avenir Next LT Pro" panose="020B0504020202020204" pitchFamily="34" charset="0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venir Next LT Pro" panose="020B0504020202020204" pitchFamily="34" charset="0"/>
          <a:ea typeface="Avenir Next LT Pro" panose="020B0504020202020204" pitchFamily="34" charset="0"/>
          <a:cs typeface="Arial"/>
          <a:sym typeface="Avenir Next LT Pro" panose="020B0504020202020204" pitchFamily="34" charset="0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1.xml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54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53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7.sv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56.xml"/><Relationship Id="rId6" Type="http://schemas.openxmlformats.org/officeDocument/2006/relationships/image" Target="../media/image26.png"/><Relationship Id="rId11" Type="http://schemas.openxmlformats.org/officeDocument/2006/relationships/image" Target="../media/image29.svg"/><Relationship Id="rId5" Type="http://schemas.openxmlformats.org/officeDocument/2006/relationships/image" Target="../media/image11.emf"/><Relationship Id="rId1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sv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57.xml"/><Relationship Id="rId6" Type="http://schemas.openxmlformats.org/officeDocument/2006/relationships/image" Target="../media/image26.png"/><Relationship Id="rId11" Type="http://schemas.openxmlformats.org/officeDocument/2006/relationships/image" Target="../media/image29.svg"/><Relationship Id="rId5" Type="http://schemas.openxmlformats.org/officeDocument/2006/relationships/image" Target="../media/image11.emf"/><Relationship Id="rId1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56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BE25E8-B4A0-CAA0-D833-DEAC6A217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586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BE25E8-B4A0-CAA0-D833-DEAC6A217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592C9A-2923-003D-E7DB-2FC9C158B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29" y="2523757"/>
            <a:ext cx="9969318" cy="664797"/>
          </a:xfrm>
        </p:spPr>
        <p:txBody>
          <a:bodyPr vert="horz"/>
          <a:lstStyle/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3600" dirty="0"/>
              <a:t>How to Build Your Ideal Partner Profile (IPP)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75DDD04-CC53-F779-F831-CAB50A51E2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pplement to </a:t>
            </a:r>
            <a:r>
              <a:rPr lang="en-US" dirty="0">
                <a:solidFill>
                  <a:schemeClr val="accent4"/>
                </a:solidFill>
              </a:rPr>
              <a:t>Growth Project Guide to Channel Partner Programs</a:t>
            </a:r>
          </a:p>
        </p:txBody>
      </p:sp>
    </p:spTree>
    <p:extLst>
      <p:ext uri="{BB962C8B-B14F-4D97-AF65-F5344CB8AC3E}">
        <p14:creationId xmlns:p14="http://schemas.microsoft.com/office/powerpoint/2010/main" val="1906600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8B76DD4-F6D2-6791-F9A0-26A9043F1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759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0" imgH="320" progId="TCLayout.ActiveDocument.1">
                  <p:embed/>
                </p:oleObj>
              </mc:Choice>
              <mc:Fallback>
                <p:oleObj name="think-cell Slide" r:id="rId3" imgW="320" imgH="32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76DD4-F6D2-6791-F9A0-26A9043F1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D83229-74C2-ECFE-1EFD-DBF99993F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ather </a:t>
            </a:r>
            <a:r>
              <a:rPr lang="en-US" dirty="0"/>
              <a:t>feedback from executives and GTM leaders to identify the critical factors for your Ideal Partner Profil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35A060-28DD-F83D-678E-B27330891DCF}"/>
              </a:ext>
            </a:extLst>
          </p:cNvPr>
          <p:cNvSpPr txBox="1"/>
          <p:nvPr/>
        </p:nvSpPr>
        <p:spPr>
          <a:xfrm>
            <a:off x="609599" y="1026724"/>
            <a:ext cx="10962291" cy="4777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/>
              <a:t>Ensure your team is aligned on the goals of the channel partner program you determined in Step 1 of the Growth Project Guide to Channel Partner Programs. 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Use the following questions to help your team brainstorm the specific criteria that makes a partner ideal for your company. Consider all relevant partner types in your discussion. </a:t>
            </a:r>
          </a:p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en-US" sz="1600" dirty="0"/>
          </a:p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1" dirty="0"/>
              <a:t>Questions:</a:t>
            </a:r>
            <a:endParaRPr lang="en-US" sz="1400" dirty="0"/>
          </a:p>
          <a:p>
            <a:pPr marL="342900" indent="-342900"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What are the most important firmographic factors that will enable partners to expand market reach? Does this vary by customer segment, market, industry or geography?</a:t>
            </a:r>
          </a:p>
          <a:p>
            <a:pPr marL="342900" indent="-342900"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What are the most important firmographic factors that will enable partners to increase service efficiency? Does this vary by customer segments, market, industry or geography?</a:t>
            </a:r>
          </a:p>
          <a:p>
            <a:pPr marL="342900" indent="-342900"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What technical or GTM capabilities are most important for partner success? What headcount (roles and number) do partners need to be effective? What do they need to excel?</a:t>
            </a:r>
          </a:p>
          <a:p>
            <a:pPr marL="342900" indent="-342900"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How does product integration or fit with the partner’s existing product portfolio affect partner success? </a:t>
            </a:r>
          </a:p>
          <a:p>
            <a:pPr marL="342900" indent="-342900"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How do partner relationships (or lack thereof) with important competitors affect desirability for partnership with your company?  </a:t>
            </a:r>
          </a:p>
        </p:txBody>
      </p:sp>
    </p:spTree>
    <p:extLst>
      <p:ext uri="{BB962C8B-B14F-4D97-AF65-F5344CB8AC3E}">
        <p14:creationId xmlns:p14="http://schemas.microsoft.com/office/powerpoint/2010/main" val="1211137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6621904-77B8-F96B-8DAD-359EC1C6DB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80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90" imgH="290" progId="TCLayout.ActiveDocument.1">
                  <p:embed/>
                </p:oleObj>
              </mc:Choice>
              <mc:Fallback>
                <p:oleObj name="think-cell Slide" r:id="rId3" imgW="290" imgH="29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6621904-77B8-F96B-8DAD-359EC1C6D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DBE548-CBD6-273F-3478-595677CA4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a typeface="+mj-lt"/>
                <a:cs typeface="+mj-lt"/>
              </a:rPr>
              <a:t>Internal feedback from interviews with GTM teams can be interpreted as potential factors for your Ideal Partner Profile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9BF76C6-84B9-17BC-6642-29AE930E1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6224802"/>
              </p:ext>
            </p:extLst>
          </p:nvPr>
        </p:nvGraphicFramePr>
        <p:xfrm>
          <a:off x="609600" y="1771226"/>
          <a:ext cx="10962290" cy="26270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1145">
                  <a:extLst>
                    <a:ext uri="{9D8B030D-6E8A-4147-A177-3AD203B41FA5}">
                      <a16:colId xmlns:a16="http://schemas.microsoft.com/office/drawing/2014/main" val="2972281865"/>
                    </a:ext>
                  </a:extLst>
                </a:gridCol>
                <a:gridCol w="5481145">
                  <a:extLst>
                    <a:ext uri="{9D8B030D-6E8A-4147-A177-3AD203B41FA5}">
                      <a16:colId xmlns:a16="http://schemas.microsoft.com/office/drawing/2014/main" val="4223588480"/>
                    </a:ext>
                  </a:extLst>
                </a:gridCol>
              </a:tblGrid>
              <a:tr h="4382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eedback Examples</a:t>
                      </a:r>
                    </a:p>
                  </a:txBody>
                  <a:tcPr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otential IPP Factors</a:t>
                      </a:r>
                    </a:p>
                  </a:txBody>
                  <a:tcPr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331111"/>
                  </a:ext>
                </a:extLst>
              </a:tr>
              <a:tr h="583519"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“Bigger companies are able to buy and distribute more”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Annual Revenue</a:t>
                      </a:r>
                    </a:p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Distribution capability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8412563"/>
                  </a:ext>
                </a:extLst>
              </a:tr>
              <a:tr h="583519"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“It’s easier for partners with a large team of qualified technicians and </a:t>
                      </a:r>
                      <a:b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salespeople to sell and service our customers”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Sales and technical headcount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5207722"/>
                  </a:ext>
                </a:extLst>
              </a:tr>
              <a:tr h="438240"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“Financial firms are our best partners”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dustry focus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097638"/>
                  </a:ext>
                </a:extLst>
              </a:tr>
              <a:tr h="583519"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“Our ideal partner has multiple domestic and international sites”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# of Locations</a:t>
                      </a:r>
                    </a:p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Geographic presence</a:t>
                      </a:r>
                    </a:p>
                  </a:txBody>
                  <a:tcPr marL="82296" marR="82296" marT="41148" marB="41148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82341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D00BB102-6589-630E-F21D-75C0A8C2C630}"/>
              </a:ext>
            </a:extLst>
          </p:cNvPr>
          <p:cNvSpPr txBox="1"/>
          <p:nvPr/>
        </p:nvSpPr>
        <p:spPr>
          <a:xfrm>
            <a:off x="609599" y="1026724"/>
            <a:ext cx="109622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Use the table below to capture feedback from the commercial leaders and team members you interview and hypothesize metrics that might help you express their input using data.</a:t>
            </a:r>
          </a:p>
        </p:txBody>
      </p:sp>
    </p:spTree>
    <p:extLst>
      <p:ext uri="{BB962C8B-B14F-4D97-AF65-F5344CB8AC3E}">
        <p14:creationId xmlns:p14="http://schemas.microsoft.com/office/powerpoint/2010/main" val="3484820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D49D6A6B-ADA6-FBE1-9978-4788DF17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D49D6A6B-ADA6-FBE1-9978-4788DF174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12221;g117094d1d62_7_0">
            <a:extLst>
              <a:ext uri="{FF2B5EF4-FFF2-40B4-BE49-F238E27FC236}">
                <a16:creationId xmlns:a16="http://schemas.microsoft.com/office/drawing/2014/main" id="{0D8A5AA7-F423-CD84-A818-98CF33344358}"/>
              </a:ext>
            </a:extLst>
          </p:cNvPr>
          <p:cNvSpPr txBox="1">
            <a:spLocks/>
          </p:cNvSpPr>
          <p:nvPr/>
        </p:nvSpPr>
        <p:spPr>
          <a:xfrm>
            <a:off x="759601" y="466842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rial"/>
                <a:sym typeface="Avenir Next LT Pro" panose="020B0504020202020204" pitchFamily="34" charset="0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Ideal Partner Profile Example (New Partners)</a:t>
            </a:r>
          </a:p>
        </p:txBody>
      </p:sp>
      <p:cxnSp>
        <p:nvCxnSpPr>
          <p:cNvPr id="20" name="Google Shape;12;p4">
            <a:extLst>
              <a:ext uri="{FF2B5EF4-FFF2-40B4-BE49-F238E27FC236}">
                <a16:creationId xmlns:a16="http://schemas.microsoft.com/office/drawing/2014/main" id="{1CB8C095-2275-F695-7565-A43292584D5E}"/>
              </a:ext>
            </a:extLst>
          </p:cNvPr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16E26C9-C7C6-31FD-8BC7-5E1FD28BFC1C}"/>
              </a:ext>
            </a:extLst>
          </p:cNvPr>
          <p:cNvGrpSpPr/>
          <p:nvPr/>
        </p:nvGrpSpPr>
        <p:grpSpPr>
          <a:xfrm>
            <a:off x="1036369" y="1538198"/>
            <a:ext cx="10119262" cy="1760364"/>
            <a:chOff x="1226643" y="1088033"/>
            <a:chExt cx="10119262" cy="1760364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D9E0180-B9E6-BE5D-2CF8-DDC108B68444}"/>
                </a:ext>
              </a:extLst>
            </p:cNvPr>
            <p:cNvGrpSpPr/>
            <p:nvPr/>
          </p:nvGrpSpPr>
          <p:grpSpPr>
            <a:xfrm>
              <a:off x="1226643" y="1088033"/>
              <a:ext cx="10119262" cy="1760364"/>
              <a:chOff x="1226643" y="1088033"/>
              <a:chExt cx="10119262" cy="1760364"/>
            </a:xfrm>
          </p:grpSpPr>
          <p:sp>
            <p:nvSpPr>
              <p:cNvPr id="2" name="Google Shape;12253;g117094d1d62_7_0">
                <a:extLst>
                  <a:ext uri="{FF2B5EF4-FFF2-40B4-BE49-F238E27FC236}">
                    <a16:creationId xmlns:a16="http://schemas.microsoft.com/office/drawing/2014/main" id="{C4092EFC-89EA-379E-B20A-50625D8EF327}"/>
                  </a:ext>
                </a:extLst>
              </p:cNvPr>
              <p:cNvSpPr/>
              <p:nvPr/>
            </p:nvSpPr>
            <p:spPr>
              <a:xfrm>
                <a:off x="6378903" y="2171852"/>
                <a:ext cx="347138" cy="347138"/>
              </a:xfrm>
              <a:prstGeom prst="mathPlus">
                <a:avLst>
                  <a:gd name="adj1" fmla="val 23520"/>
                </a:avLst>
              </a:pr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C4845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C4845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Avenir"/>
                  <a:cs typeface="Avenir"/>
                  <a:sym typeface="Avenir Next LT Pro" panose="020B0504020202020204" pitchFamily="34" charset="0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E633CCF9-000E-F596-511E-49091BDD65CE}"/>
                  </a:ext>
                </a:extLst>
              </p:cNvPr>
              <p:cNvGrpSpPr/>
              <p:nvPr/>
            </p:nvGrpSpPr>
            <p:grpSpPr>
              <a:xfrm>
                <a:off x="1226643" y="1094282"/>
                <a:ext cx="1357651" cy="1754115"/>
                <a:chOff x="1226643" y="1094283"/>
                <a:chExt cx="1357651" cy="1754115"/>
              </a:xfrm>
            </p:grpSpPr>
            <p:sp>
              <p:nvSpPr>
                <p:cNvPr id="4" name="Google Shape;12229;g117094d1d62_7_0">
                  <a:extLst>
                    <a:ext uri="{FF2B5EF4-FFF2-40B4-BE49-F238E27FC236}">
                      <a16:creationId xmlns:a16="http://schemas.microsoft.com/office/drawing/2014/main" id="{7ACD3783-316C-6C0B-ED62-0D259222274A}"/>
                    </a:ext>
                  </a:extLst>
                </p:cNvPr>
                <p:cNvSpPr/>
                <p:nvPr/>
              </p:nvSpPr>
              <p:spPr>
                <a:xfrm>
                  <a:off x="1226643" y="1094283"/>
                  <a:ext cx="1357651" cy="484151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tx1"/>
                </a:solidFill>
                <a:ln w="28575" cap="flat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>
                  <a:outerShdw blurRad="76200" dist="50800" dir="5400000" algn="tl" rotWithShape="0">
                    <a:srgbClr val="4C4846">
                      <a:alpha val="3137"/>
                    </a:srgbClr>
                  </a:outerShdw>
                </a:effectLst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200"/>
                    <a:buFont typeface="Arial"/>
                    <a:buNone/>
                    <a:tabLst/>
                    <a:defRPr/>
                  </a:pP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Arial"/>
                      <a:sym typeface="Avenir Next LT Pro" panose="020B0504020202020204" pitchFamily="34" charset="0"/>
                    </a:rPr>
                    <a:t>Key Vertical Focus</a:t>
                  </a:r>
                </a:p>
              </p:txBody>
            </p:sp>
            <p:sp>
              <p:nvSpPr>
                <p:cNvPr id="5" name="Google Shape;12236;g117094d1d62_7_0">
                  <a:extLst>
                    <a:ext uri="{FF2B5EF4-FFF2-40B4-BE49-F238E27FC236}">
                      <a16:creationId xmlns:a16="http://schemas.microsoft.com/office/drawing/2014/main" id="{7F01062E-1454-C58B-56C6-9E909A4261E4}"/>
                    </a:ext>
                  </a:extLst>
                </p:cNvPr>
                <p:cNvSpPr/>
                <p:nvPr/>
              </p:nvSpPr>
              <p:spPr>
                <a:xfrm>
                  <a:off x="1384761" y="1806983"/>
                  <a:ext cx="1041415" cy="1041415"/>
                </a:xfrm>
                <a:prstGeom prst="ellipse">
                  <a:avLst/>
                </a:prstGeom>
                <a:solidFill>
                  <a:schemeClr val="tx1"/>
                </a:solidFill>
                <a:ln w="76200">
                  <a:solidFill>
                    <a:schemeClr val="bg1"/>
                  </a:solidFill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4C4845"/>
                    </a:buClr>
                    <a:buSzPts val="1400"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C4845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Avenir"/>
                    <a:cs typeface="Avenir"/>
                    <a:sym typeface="Avenir Next LT Pro" panose="020B0504020202020204" pitchFamily="34" charset="0"/>
                  </a:endParaRPr>
                </a:p>
              </p:txBody>
            </p:sp>
          </p:grpSp>
          <p:sp>
            <p:nvSpPr>
              <p:cNvPr id="6" name="Google Shape;12229;g117094d1d62_7_0">
                <a:extLst>
                  <a:ext uri="{FF2B5EF4-FFF2-40B4-BE49-F238E27FC236}">
                    <a16:creationId xmlns:a16="http://schemas.microsoft.com/office/drawing/2014/main" id="{20BD9CF3-3BD1-62D2-5E57-092ED8D3AED5}"/>
                  </a:ext>
                </a:extLst>
              </p:cNvPr>
              <p:cNvSpPr/>
              <p:nvPr/>
            </p:nvSpPr>
            <p:spPr>
              <a:xfrm>
                <a:off x="3381216" y="1088033"/>
                <a:ext cx="1357651" cy="484151"/>
              </a:xfrm>
              <a:prstGeom prst="roundRect">
                <a:avLst>
                  <a:gd name="adj" fmla="val 16667"/>
                </a:avLst>
              </a:prstGeom>
              <a:solidFill>
                <a:schemeClr val="tx1"/>
              </a:solidFill>
              <a:ln w="2857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>
                <a:outerShdw blurRad="76200" dist="50800" dir="5400000" algn="tl" rotWithShape="0">
                  <a:srgbClr val="4C4846">
                    <a:alpha val="3137"/>
                  </a:srgb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Arial"/>
                    <a:sym typeface="Avenir Next LT Pro" panose="020B0504020202020204" pitchFamily="34" charset="0"/>
                  </a:rPr>
                  <a:t>Product Set Capability</a:t>
                </a:r>
              </a:p>
            </p:txBody>
          </p:sp>
          <p:sp>
            <p:nvSpPr>
              <p:cNvPr id="7" name="Google Shape;12236;g117094d1d62_7_0">
                <a:extLst>
                  <a:ext uri="{FF2B5EF4-FFF2-40B4-BE49-F238E27FC236}">
                    <a16:creationId xmlns:a16="http://schemas.microsoft.com/office/drawing/2014/main" id="{A08182D3-C4C2-C3C5-C639-5CEB0E03FBD8}"/>
                  </a:ext>
                </a:extLst>
              </p:cNvPr>
              <p:cNvSpPr/>
              <p:nvPr/>
            </p:nvSpPr>
            <p:spPr>
              <a:xfrm>
                <a:off x="3539334" y="1806982"/>
                <a:ext cx="1041415" cy="1041415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C4845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C4845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Avenir"/>
                  <a:cs typeface="Avenir"/>
                  <a:sym typeface="Avenir Next LT Pro" panose="020B0504020202020204" pitchFamily="34" charset="0"/>
                </a:endParaRPr>
              </a:p>
            </p:txBody>
          </p:sp>
          <p:pic>
            <p:nvPicPr>
              <p:cNvPr id="8" name="Graphic 7" descr="Unlock">
                <a:extLst>
                  <a:ext uri="{FF2B5EF4-FFF2-40B4-BE49-F238E27FC236}">
                    <a16:creationId xmlns:a16="http://schemas.microsoft.com/office/drawing/2014/main" id="{5D760A82-C22E-5C99-7681-F1443C1254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606536" y="2044003"/>
                <a:ext cx="592023" cy="544618"/>
              </a:xfrm>
              <a:prstGeom prst="rect">
                <a:avLst/>
              </a:prstGeom>
            </p:spPr>
          </p:pic>
          <p:sp>
            <p:nvSpPr>
              <p:cNvPr id="9" name="Google Shape;12229;g117094d1d62_7_0">
                <a:extLst>
                  <a:ext uri="{FF2B5EF4-FFF2-40B4-BE49-F238E27FC236}">
                    <a16:creationId xmlns:a16="http://schemas.microsoft.com/office/drawing/2014/main" id="{BB569F95-1C2A-FC78-8854-99192B6F4071}"/>
                  </a:ext>
                </a:extLst>
              </p:cNvPr>
              <p:cNvSpPr/>
              <p:nvPr/>
            </p:nvSpPr>
            <p:spPr>
              <a:xfrm>
                <a:off x="9701609" y="1088033"/>
                <a:ext cx="1644296" cy="484151"/>
              </a:xfrm>
              <a:prstGeom prst="roundRect">
                <a:avLst>
                  <a:gd name="adj" fmla="val 16667"/>
                </a:avLst>
              </a:prstGeom>
              <a:solidFill>
                <a:schemeClr val="tx1"/>
              </a:solidFill>
              <a:ln w="2857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>
                <a:outerShdw blurRad="76200" dist="50800" dir="5400000" algn="tl" rotWithShape="0">
                  <a:srgbClr val="4C4846">
                    <a:alpha val="3137"/>
                  </a:srgb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Arial"/>
                    <a:sym typeface="Avenir Next LT Pro" panose="020B0504020202020204" pitchFamily="34" charset="0"/>
                  </a:rPr>
                  <a:t>Internal Structure + People in Roles</a:t>
                </a:r>
                <a:endParaRPr kumimoji="0" 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venir Next LT Pro" panose="020B0504020202020204" pitchFamily="34" charset="0"/>
                </a:endParaRPr>
              </a:p>
            </p:txBody>
          </p:sp>
          <p:sp>
            <p:nvSpPr>
              <p:cNvPr id="10" name="Google Shape;12236;g117094d1d62_7_0">
                <a:extLst>
                  <a:ext uri="{FF2B5EF4-FFF2-40B4-BE49-F238E27FC236}">
                    <a16:creationId xmlns:a16="http://schemas.microsoft.com/office/drawing/2014/main" id="{78BDC09A-3A39-7E8F-D8CD-279587C30005}"/>
                  </a:ext>
                </a:extLst>
              </p:cNvPr>
              <p:cNvSpPr/>
              <p:nvPr/>
            </p:nvSpPr>
            <p:spPr>
              <a:xfrm>
                <a:off x="10003053" y="1806982"/>
                <a:ext cx="1041415" cy="1041415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C4845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C4845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Avenir"/>
                  <a:cs typeface="Avenir"/>
                  <a:sym typeface="Avenir Next LT Pro" panose="020B0504020202020204" pitchFamily="34" charset="0"/>
                </a:endParaRPr>
              </a:p>
            </p:txBody>
          </p:sp>
          <p:sp>
            <p:nvSpPr>
              <p:cNvPr id="11" name="Google Shape;12229;g117094d1d62_7_0">
                <a:extLst>
                  <a:ext uri="{FF2B5EF4-FFF2-40B4-BE49-F238E27FC236}">
                    <a16:creationId xmlns:a16="http://schemas.microsoft.com/office/drawing/2014/main" id="{E3F0A9E5-BB53-357B-7FFD-E9B7FF0A24BB}"/>
                  </a:ext>
                </a:extLst>
              </p:cNvPr>
              <p:cNvSpPr/>
              <p:nvPr/>
            </p:nvSpPr>
            <p:spPr>
              <a:xfrm>
                <a:off x="5535789" y="1088033"/>
                <a:ext cx="1357651" cy="484151"/>
              </a:xfrm>
              <a:prstGeom prst="roundRect">
                <a:avLst>
                  <a:gd name="adj" fmla="val 16667"/>
                </a:avLst>
              </a:prstGeom>
              <a:solidFill>
                <a:schemeClr val="tx1"/>
              </a:solidFill>
              <a:ln w="2857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>
                <a:outerShdw blurRad="76200" dist="50800" dir="5400000" algn="tl" rotWithShape="0">
                  <a:srgbClr val="4C4846">
                    <a:alpha val="3137"/>
                  </a:srgb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Arial"/>
                    <a:sym typeface="Avenir Next LT Pro" panose="020B0504020202020204" pitchFamily="34" charset="0"/>
                  </a:rPr>
                  <a:t>Competitive Presence</a:t>
                </a:r>
              </a:p>
            </p:txBody>
          </p:sp>
          <p:sp>
            <p:nvSpPr>
              <p:cNvPr id="12" name="Google Shape;12236;g117094d1d62_7_0">
                <a:extLst>
                  <a:ext uri="{FF2B5EF4-FFF2-40B4-BE49-F238E27FC236}">
                    <a16:creationId xmlns:a16="http://schemas.microsoft.com/office/drawing/2014/main" id="{876A44D4-EBE7-D045-6C4A-0C4C340B87F2}"/>
                  </a:ext>
                </a:extLst>
              </p:cNvPr>
              <p:cNvSpPr/>
              <p:nvPr/>
            </p:nvSpPr>
            <p:spPr>
              <a:xfrm>
                <a:off x="5693907" y="1806982"/>
                <a:ext cx="1041415" cy="1041415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C4845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C4845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Avenir"/>
                  <a:cs typeface="Avenir"/>
                  <a:sym typeface="Avenir Next LT Pro" panose="020B0504020202020204" pitchFamily="34" charset="0"/>
                </a:endParaRPr>
              </a:p>
            </p:txBody>
          </p:sp>
          <p:pic>
            <p:nvPicPr>
              <p:cNvPr id="13" name="Graphic 12" descr="Pie chart">
                <a:extLst>
                  <a:ext uri="{FF2B5EF4-FFF2-40B4-BE49-F238E27FC236}">
                    <a16:creationId xmlns:a16="http://schemas.microsoft.com/office/drawing/2014/main" id="{2BFFBE73-7D4B-C254-27EC-5C4D8B6E3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764617" y="2058974"/>
                <a:ext cx="592023" cy="544618"/>
              </a:xfrm>
              <a:prstGeom prst="rect">
                <a:avLst/>
              </a:prstGeom>
            </p:spPr>
          </p:pic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3A8302CC-948E-CF94-9BE0-23C3A4E166A0}"/>
                  </a:ext>
                </a:extLst>
              </p:cNvPr>
              <p:cNvGrpSpPr/>
              <p:nvPr/>
            </p:nvGrpSpPr>
            <p:grpSpPr>
              <a:xfrm>
                <a:off x="7690362" y="1088033"/>
                <a:ext cx="1357651" cy="1760364"/>
                <a:chOff x="6832236" y="1088034"/>
                <a:chExt cx="1357651" cy="1760364"/>
              </a:xfrm>
            </p:grpSpPr>
            <p:sp>
              <p:nvSpPr>
                <p:cNvPr id="15" name="Google Shape;12229;g117094d1d62_7_0">
                  <a:extLst>
                    <a:ext uri="{FF2B5EF4-FFF2-40B4-BE49-F238E27FC236}">
                      <a16:creationId xmlns:a16="http://schemas.microsoft.com/office/drawing/2014/main" id="{3F38F4D5-CFD0-8BE3-A940-FAC1120B6B8E}"/>
                    </a:ext>
                  </a:extLst>
                </p:cNvPr>
                <p:cNvSpPr/>
                <p:nvPr/>
              </p:nvSpPr>
              <p:spPr>
                <a:xfrm>
                  <a:off x="6832236" y="1088034"/>
                  <a:ext cx="1357651" cy="484151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tx1"/>
                </a:solidFill>
                <a:ln w="28575" cap="flat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>
                  <a:outerShdw blurRad="76200" dist="50800" dir="5400000" algn="tl" rotWithShape="0">
                    <a:srgbClr val="4C4846">
                      <a:alpha val="3137"/>
                    </a:srgbClr>
                  </a:outerShdw>
                </a:effectLst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200"/>
                    <a:buFont typeface="Arial"/>
                    <a:buNone/>
                    <a:tabLst/>
                    <a:defRPr/>
                  </a:pPr>
                  <a:r>
                    <a:rPr kumimoji="0" 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Arial"/>
                      <a:sym typeface="Avenir Next LT Pro" panose="020B0504020202020204" pitchFamily="34" charset="0"/>
                    </a:rPr>
                    <a:t>Geographic Presence</a:t>
                  </a:r>
                  <a:endParaRPr kumimoji="0" lang="en-US" sz="14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Arial"/>
                    <a:sym typeface="Avenir Next LT Pro" panose="020B0504020202020204" pitchFamily="34" charset="0"/>
                  </a:endParaRPr>
                </a:p>
              </p:txBody>
            </p:sp>
            <p:sp>
              <p:nvSpPr>
                <p:cNvPr id="16" name="Google Shape;12236;g117094d1d62_7_0">
                  <a:extLst>
                    <a:ext uri="{FF2B5EF4-FFF2-40B4-BE49-F238E27FC236}">
                      <a16:creationId xmlns:a16="http://schemas.microsoft.com/office/drawing/2014/main" id="{FD7915B0-352B-D98D-FEB2-A602A504A56F}"/>
                    </a:ext>
                  </a:extLst>
                </p:cNvPr>
                <p:cNvSpPr/>
                <p:nvPr/>
              </p:nvSpPr>
              <p:spPr>
                <a:xfrm>
                  <a:off x="6990354" y="1806983"/>
                  <a:ext cx="1041415" cy="1041415"/>
                </a:xfrm>
                <a:prstGeom prst="ellipse">
                  <a:avLst/>
                </a:prstGeom>
                <a:solidFill>
                  <a:schemeClr val="tx1"/>
                </a:solidFill>
                <a:ln w="76200">
                  <a:solidFill>
                    <a:schemeClr val="bg1"/>
                  </a:solidFill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4C4845"/>
                    </a:buClr>
                    <a:buSzPts val="1400"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C4845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Avenir"/>
                    <a:cs typeface="Avenir"/>
                    <a:sym typeface="Avenir Next LT Pro" panose="020B0504020202020204" pitchFamily="34" charset="0"/>
                  </a:endParaRPr>
                </a:p>
              </p:txBody>
            </p:sp>
          </p:grpSp>
          <p:pic>
            <p:nvPicPr>
              <p:cNvPr id="17" name="Graphic 16" descr="Group of people with solid fill">
                <a:extLst>
                  <a:ext uri="{FF2B5EF4-FFF2-40B4-BE49-F238E27FC236}">
                    <a16:creationId xmlns:a16="http://schemas.microsoft.com/office/drawing/2014/main" id="{50A9C772-8211-A104-D908-29A012A7F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940294" y="2044003"/>
                <a:ext cx="548640" cy="548640"/>
              </a:xfrm>
              <a:prstGeom prst="rect">
                <a:avLst/>
              </a:prstGeom>
            </p:spPr>
          </p:pic>
          <p:pic>
            <p:nvPicPr>
              <p:cNvPr id="18" name="Graphic 17" descr="Earth Globe Americas">
                <a:extLst>
                  <a:ext uri="{FF2B5EF4-FFF2-40B4-BE49-F238E27FC236}">
                    <a16:creationId xmlns:a16="http://schemas.microsoft.com/office/drawing/2014/main" id="{52E303EB-556F-D0D5-2253-678379BB1C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094867" y="2049311"/>
                <a:ext cx="548640" cy="548640"/>
              </a:xfrm>
              <a:prstGeom prst="rect">
                <a:avLst/>
              </a:prstGeom>
            </p:spPr>
          </p:pic>
          <p:pic>
            <p:nvPicPr>
              <p:cNvPr id="21" name="Graphic 20" descr="Target Audience">
                <a:extLst>
                  <a:ext uri="{FF2B5EF4-FFF2-40B4-BE49-F238E27FC236}">
                    <a16:creationId xmlns:a16="http://schemas.microsoft.com/office/drawing/2014/main" id="{9B3D8338-24F9-B625-45EF-2A85FC42C4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225560" y="2056963"/>
                <a:ext cx="596395" cy="548640"/>
              </a:xfrm>
              <a:prstGeom prst="rect">
                <a:avLst/>
              </a:prstGeom>
            </p:spPr>
          </p:pic>
        </p:grpSp>
        <p:sp>
          <p:nvSpPr>
            <p:cNvPr id="23" name="Google Shape;12253;g117094d1d62_7_0">
              <a:extLst>
                <a:ext uri="{FF2B5EF4-FFF2-40B4-BE49-F238E27FC236}">
                  <a16:creationId xmlns:a16="http://schemas.microsoft.com/office/drawing/2014/main" id="{59A0E08F-A4D1-3A15-6709-A46DB8309770}"/>
                </a:ext>
              </a:extLst>
            </p:cNvPr>
            <p:cNvSpPr/>
            <p:nvPr/>
          </p:nvSpPr>
          <p:spPr>
            <a:xfrm>
              <a:off x="2765077" y="2162985"/>
              <a:ext cx="347138" cy="347138"/>
            </a:xfrm>
            <a:prstGeom prst="mathPlus">
              <a:avLst>
                <a:gd name="adj1" fmla="val 23520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4" name="Google Shape;12253;g117094d1d62_7_0">
              <a:extLst>
                <a:ext uri="{FF2B5EF4-FFF2-40B4-BE49-F238E27FC236}">
                  <a16:creationId xmlns:a16="http://schemas.microsoft.com/office/drawing/2014/main" id="{189A3CF6-8336-B3B7-0DEC-65D028FEA514}"/>
                </a:ext>
              </a:extLst>
            </p:cNvPr>
            <p:cNvSpPr/>
            <p:nvPr/>
          </p:nvSpPr>
          <p:spPr>
            <a:xfrm>
              <a:off x="4934353" y="2162985"/>
              <a:ext cx="347138" cy="347138"/>
            </a:xfrm>
            <a:prstGeom prst="mathPlus">
              <a:avLst>
                <a:gd name="adj1" fmla="val 23520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5" name="Google Shape;12253;g117094d1d62_7_0">
              <a:extLst>
                <a:ext uri="{FF2B5EF4-FFF2-40B4-BE49-F238E27FC236}">
                  <a16:creationId xmlns:a16="http://schemas.microsoft.com/office/drawing/2014/main" id="{3B39BF26-0ABD-3EEE-BB5A-76CDF9658690}"/>
                </a:ext>
              </a:extLst>
            </p:cNvPr>
            <p:cNvSpPr/>
            <p:nvPr/>
          </p:nvSpPr>
          <p:spPr>
            <a:xfrm>
              <a:off x="7103629" y="2157714"/>
              <a:ext cx="347138" cy="347138"/>
            </a:xfrm>
            <a:prstGeom prst="mathPlus">
              <a:avLst>
                <a:gd name="adj1" fmla="val 23520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26" name="Google Shape;12253;g117094d1d62_7_0">
              <a:extLst>
                <a:ext uri="{FF2B5EF4-FFF2-40B4-BE49-F238E27FC236}">
                  <a16:creationId xmlns:a16="http://schemas.microsoft.com/office/drawing/2014/main" id="{74F16F66-AFDD-CCD1-6E11-FB48F9AA5662}"/>
                </a:ext>
              </a:extLst>
            </p:cNvPr>
            <p:cNvSpPr/>
            <p:nvPr/>
          </p:nvSpPr>
          <p:spPr>
            <a:xfrm>
              <a:off x="9272905" y="2171852"/>
              <a:ext cx="347138" cy="347138"/>
            </a:xfrm>
            <a:prstGeom prst="mathPlus">
              <a:avLst>
                <a:gd name="adj1" fmla="val 23520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206B8F0A-EEBA-3290-C549-59C61A60723F}"/>
              </a:ext>
            </a:extLst>
          </p:cNvPr>
          <p:cNvSpPr/>
          <p:nvPr/>
        </p:nvSpPr>
        <p:spPr>
          <a:xfrm>
            <a:off x="935033" y="3658084"/>
            <a:ext cx="15544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Elevates Partners selling into key ACME verticals/new verticals that are of interes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9D201E3-267A-3274-E159-4B446921636A}"/>
              </a:ext>
            </a:extLst>
          </p:cNvPr>
          <p:cNvSpPr/>
          <p:nvPr/>
        </p:nvSpPr>
        <p:spPr>
          <a:xfrm>
            <a:off x="3090336" y="3658084"/>
            <a:ext cx="15544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rial"/>
              </a:rPr>
              <a:t>Identification of Partners’ capability to sell, deliver and support ERP, Digital Commerce and/or supply chain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35289A4-F7E3-7717-55C7-4D900EF65D78}"/>
              </a:ext>
            </a:extLst>
          </p:cNvPr>
          <p:cNvSpPr/>
          <p:nvPr/>
        </p:nvSpPr>
        <p:spPr>
          <a:xfrm>
            <a:off x="7400940" y="3658084"/>
            <a:ext cx="15544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Identify Partners who have market presence in specific geographic area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226684-222E-9C81-546E-AEA9B61EE51C}"/>
              </a:ext>
            </a:extLst>
          </p:cNvPr>
          <p:cNvSpPr/>
          <p:nvPr/>
        </p:nvSpPr>
        <p:spPr>
          <a:xfrm>
            <a:off x="9556243" y="3658084"/>
            <a:ext cx="15544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Identify Partners who have the infrastructure, skillsets, and resources to be successful selling ACME solutions</a:t>
            </a:r>
          </a:p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Calibri" panose="020F0502020204030204" pitchFamily="34" charset="0"/>
              <a:sym typeface="Avenir Next LT Pro" panose="020B0504020202020204" pitchFamily="34" charset="0"/>
            </a:endParaRPr>
          </a:p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E3EB56D-A068-11E2-8E8D-7B0D11C3FF61}"/>
              </a:ext>
            </a:extLst>
          </p:cNvPr>
          <p:cNvSpPr/>
          <p:nvPr/>
        </p:nvSpPr>
        <p:spPr>
          <a:xfrm>
            <a:off x="5245638" y="3658084"/>
            <a:ext cx="15544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Identify Partners who sell competitive solutions, but have the potential to sell ACME and displace the competitio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381FD3C-86CB-DC48-CA17-B5BBF1B82B6F}"/>
              </a:ext>
            </a:extLst>
          </p:cNvPr>
          <p:cNvCxnSpPr/>
          <p:nvPr/>
        </p:nvCxnSpPr>
        <p:spPr>
          <a:xfrm>
            <a:off x="935033" y="3601491"/>
            <a:ext cx="15544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479BE1F-7F5A-CA6C-9527-5744B6976EA7}"/>
              </a:ext>
            </a:extLst>
          </p:cNvPr>
          <p:cNvCxnSpPr/>
          <p:nvPr/>
        </p:nvCxnSpPr>
        <p:spPr>
          <a:xfrm>
            <a:off x="3090336" y="3601491"/>
            <a:ext cx="15544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5AD7163-57E2-48E9-3D60-BA4A449B0A39}"/>
              </a:ext>
            </a:extLst>
          </p:cNvPr>
          <p:cNvCxnSpPr/>
          <p:nvPr/>
        </p:nvCxnSpPr>
        <p:spPr>
          <a:xfrm>
            <a:off x="5245639" y="3601491"/>
            <a:ext cx="15544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C99E604-70A6-E646-E784-EEDF80D22FE8}"/>
              </a:ext>
            </a:extLst>
          </p:cNvPr>
          <p:cNvCxnSpPr/>
          <p:nvPr/>
        </p:nvCxnSpPr>
        <p:spPr>
          <a:xfrm>
            <a:off x="7400942" y="3601491"/>
            <a:ext cx="15544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814D50A-119F-6886-B061-3BBAE09BB017}"/>
              </a:ext>
            </a:extLst>
          </p:cNvPr>
          <p:cNvCxnSpPr/>
          <p:nvPr/>
        </p:nvCxnSpPr>
        <p:spPr>
          <a:xfrm>
            <a:off x="9556243" y="3601491"/>
            <a:ext cx="15544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2541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7858A52-FE26-9524-5487-6D0939B062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7858A52-FE26-9524-5487-6D0939B06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Google Shape;12256;g117094d1d62_7_0">
            <a:extLst>
              <a:ext uri="{FF2B5EF4-FFF2-40B4-BE49-F238E27FC236}">
                <a16:creationId xmlns:a16="http://schemas.microsoft.com/office/drawing/2014/main" id="{570D3A0D-615D-309B-0F0B-5283E8B5686F}"/>
              </a:ext>
            </a:extLst>
          </p:cNvPr>
          <p:cNvGraphicFramePr/>
          <p:nvPr/>
        </p:nvGraphicFramePr>
        <p:xfrm>
          <a:off x="9558289" y="4546518"/>
          <a:ext cx="2255065" cy="2177334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200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50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879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44167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20+ Presales, Sales, Marketing and service resources</a:t>
                      </a: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67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10-20 Presales, Sale, Marketing and service resources</a:t>
                      </a: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67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0-10 Presales, Sale</a:t>
                      </a:r>
                      <a:r>
                        <a:rPr lang="en-US" sz="1200" b="0" i="0" u="none" strike="noStrike" cap="none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, Marketing </a:t>
                      </a: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and service resources</a:t>
                      </a: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Google Shape;12221;g117094d1d62_7_0">
            <a:extLst>
              <a:ext uri="{FF2B5EF4-FFF2-40B4-BE49-F238E27FC236}">
                <a16:creationId xmlns:a16="http://schemas.microsoft.com/office/drawing/2014/main" id="{0D8A5AA7-F423-CD84-A818-98CF33344358}"/>
              </a:ext>
            </a:extLst>
          </p:cNvPr>
          <p:cNvSpPr txBox="1">
            <a:spLocks/>
          </p:cNvSpPr>
          <p:nvPr/>
        </p:nvSpPr>
        <p:spPr>
          <a:xfrm>
            <a:off x="759601" y="466842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rial"/>
                <a:sym typeface="Avenir Next LT Pro" panose="020B0504020202020204" pitchFamily="34" charset="0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Ideal Partner Profile Example (New Partners)</a:t>
            </a:r>
          </a:p>
        </p:txBody>
      </p:sp>
      <p:cxnSp>
        <p:nvCxnSpPr>
          <p:cNvPr id="20" name="Google Shape;12;p4">
            <a:extLst>
              <a:ext uri="{FF2B5EF4-FFF2-40B4-BE49-F238E27FC236}">
                <a16:creationId xmlns:a16="http://schemas.microsoft.com/office/drawing/2014/main" id="{1CB8C095-2275-F695-7565-A43292584D5E}"/>
              </a:ext>
            </a:extLst>
          </p:cNvPr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12253;g117094d1d62_7_0">
            <a:extLst>
              <a:ext uri="{FF2B5EF4-FFF2-40B4-BE49-F238E27FC236}">
                <a16:creationId xmlns:a16="http://schemas.microsoft.com/office/drawing/2014/main" id="{B255E52A-9E94-2777-7389-76A5E3B25F2A}"/>
              </a:ext>
            </a:extLst>
          </p:cNvPr>
          <p:cNvSpPr/>
          <p:nvPr/>
        </p:nvSpPr>
        <p:spPr>
          <a:xfrm>
            <a:off x="6378903" y="2171852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2C17DF-0D7B-4893-13C1-78607892E110}"/>
              </a:ext>
            </a:extLst>
          </p:cNvPr>
          <p:cNvGrpSpPr/>
          <p:nvPr/>
        </p:nvGrpSpPr>
        <p:grpSpPr>
          <a:xfrm>
            <a:off x="1226643" y="1094282"/>
            <a:ext cx="1357651" cy="1754115"/>
            <a:chOff x="1226643" y="1094283"/>
            <a:chExt cx="1357651" cy="1754115"/>
          </a:xfrm>
        </p:grpSpPr>
        <p:sp>
          <p:nvSpPr>
            <p:cNvPr id="5" name="Google Shape;12229;g117094d1d62_7_0">
              <a:extLst>
                <a:ext uri="{FF2B5EF4-FFF2-40B4-BE49-F238E27FC236}">
                  <a16:creationId xmlns:a16="http://schemas.microsoft.com/office/drawing/2014/main" id="{4502085B-F378-D959-B4F7-0D0ABB3D74A3}"/>
                </a:ext>
              </a:extLst>
            </p:cNvPr>
            <p:cNvSpPr/>
            <p:nvPr/>
          </p:nvSpPr>
          <p:spPr>
            <a:xfrm>
              <a:off x="1226643" y="1094283"/>
              <a:ext cx="1357651" cy="484151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28575" cap="flat" cmpd="sng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rgbClr val="4C4846">
                  <a:alpha val="3137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7AC3F8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venir Next LT Pro" panose="020B0504020202020204" pitchFamily="34" charset="0"/>
                </a:rPr>
                <a:t>Factor 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venir Next LT Pro" panose="020B0504020202020204" pitchFamily="34" charset="0"/>
                </a:rPr>
                <a:t>Key Vertical Focus</a:t>
              </a:r>
            </a:p>
          </p:txBody>
        </p:sp>
        <p:sp>
          <p:nvSpPr>
            <p:cNvPr id="8" name="Google Shape;12236;g117094d1d62_7_0">
              <a:extLst>
                <a:ext uri="{FF2B5EF4-FFF2-40B4-BE49-F238E27FC236}">
                  <a16:creationId xmlns:a16="http://schemas.microsoft.com/office/drawing/2014/main" id="{B668C54A-0519-FF00-C9BA-E0FB7CBE8595}"/>
                </a:ext>
              </a:extLst>
            </p:cNvPr>
            <p:cNvSpPr/>
            <p:nvPr/>
          </p:nvSpPr>
          <p:spPr>
            <a:xfrm>
              <a:off x="1384761" y="1806983"/>
              <a:ext cx="1041415" cy="1041415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12" name="Google Shape;12229;g117094d1d62_7_0">
            <a:extLst>
              <a:ext uri="{FF2B5EF4-FFF2-40B4-BE49-F238E27FC236}">
                <a16:creationId xmlns:a16="http://schemas.microsoft.com/office/drawing/2014/main" id="{E35375E9-76AD-5A19-CFC7-B856576F6538}"/>
              </a:ext>
            </a:extLst>
          </p:cNvPr>
          <p:cNvSpPr/>
          <p:nvPr/>
        </p:nvSpPr>
        <p:spPr>
          <a:xfrm>
            <a:off x="3381216" y="1088033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Product Set Capability</a:t>
            </a:r>
          </a:p>
        </p:txBody>
      </p:sp>
      <p:sp>
        <p:nvSpPr>
          <p:cNvPr id="21" name="Google Shape;12236;g117094d1d62_7_0">
            <a:extLst>
              <a:ext uri="{FF2B5EF4-FFF2-40B4-BE49-F238E27FC236}">
                <a16:creationId xmlns:a16="http://schemas.microsoft.com/office/drawing/2014/main" id="{87548E64-454A-F25C-9D7F-2C3E419AB39B}"/>
              </a:ext>
            </a:extLst>
          </p:cNvPr>
          <p:cNvSpPr/>
          <p:nvPr/>
        </p:nvSpPr>
        <p:spPr>
          <a:xfrm>
            <a:off x="3539334" y="1806982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23" name="Graphic 22" descr="Unlock">
            <a:extLst>
              <a:ext uri="{FF2B5EF4-FFF2-40B4-BE49-F238E27FC236}">
                <a16:creationId xmlns:a16="http://schemas.microsoft.com/office/drawing/2014/main" id="{1F7CA5B7-050A-3C8F-0478-FEFC24E01D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06536" y="2044003"/>
            <a:ext cx="592023" cy="544618"/>
          </a:xfrm>
          <a:prstGeom prst="rect">
            <a:avLst/>
          </a:prstGeom>
        </p:spPr>
      </p:pic>
      <p:sp>
        <p:nvSpPr>
          <p:cNvPr id="30" name="Google Shape;12229;g117094d1d62_7_0">
            <a:extLst>
              <a:ext uri="{FF2B5EF4-FFF2-40B4-BE49-F238E27FC236}">
                <a16:creationId xmlns:a16="http://schemas.microsoft.com/office/drawing/2014/main" id="{12EF454E-9562-EA28-4703-A361E26A3317}"/>
              </a:ext>
            </a:extLst>
          </p:cNvPr>
          <p:cNvSpPr/>
          <p:nvPr/>
        </p:nvSpPr>
        <p:spPr>
          <a:xfrm>
            <a:off x="9701609" y="1088033"/>
            <a:ext cx="1644296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Internal Structure + People in Roles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46" name="Google Shape;12236;g117094d1d62_7_0">
            <a:extLst>
              <a:ext uri="{FF2B5EF4-FFF2-40B4-BE49-F238E27FC236}">
                <a16:creationId xmlns:a16="http://schemas.microsoft.com/office/drawing/2014/main" id="{BA9EAC78-6282-ABA1-F97A-F8E197C0D558}"/>
              </a:ext>
            </a:extLst>
          </p:cNvPr>
          <p:cNvSpPr/>
          <p:nvPr/>
        </p:nvSpPr>
        <p:spPr>
          <a:xfrm>
            <a:off x="10003053" y="1806982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18" name="Google Shape;12229;g117094d1d62_7_0">
            <a:extLst>
              <a:ext uri="{FF2B5EF4-FFF2-40B4-BE49-F238E27FC236}">
                <a16:creationId xmlns:a16="http://schemas.microsoft.com/office/drawing/2014/main" id="{D2BEDED3-0E13-01C9-3D72-59E9D9956C3C}"/>
              </a:ext>
            </a:extLst>
          </p:cNvPr>
          <p:cNvSpPr/>
          <p:nvPr/>
        </p:nvSpPr>
        <p:spPr>
          <a:xfrm>
            <a:off x="5535789" y="1088033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Competitive Presence</a:t>
            </a:r>
          </a:p>
        </p:txBody>
      </p:sp>
      <p:sp>
        <p:nvSpPr>
          <p:cNvPr id="33" name="Google Shape;12236;g117094d1d62_7_0">
            <a:extLst>
              <a:ext uri="{FF2B5EF4-FFF2-40B4-BE49-F238E27FC236}">
                <a16:creationId xmlns:a16="http://schemas.microsoft.com/office/drawing/2014/main" id="{BA9FB12E-1338-066E-7988-8BAFB9C9F3B1}"/>
              </a:ext>
            </a:extLst>
          </p:cNvPr>
          <p:cNvSpPr/>
          <p:nvPr/>
        </p:nvSpPr>
        <p:spPr>
          <a:xfrm>
            <a:off x="5693907" y="1806982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26" name="Graphic 25" descr="Pie chart">
            <a:extLst>
              <a:ext uri="{FF2B5EF4-FFF2-40B4-BE49-F238E27FC236}">
                <a16:creationId xmlns:a16="http://schemas.microsoft.com/office/drawing/2014/main" id="{81C560A4-69ED-127F-872A-4A43625D17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64617" y="2058974"/>
            <a:ext cx="592023" cy="54461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8703EB-2570-4D93-0697-4624AC151342}"/>
              </a:ext>
            </a:extLst>
          </p:cNvPr>
          <p:cNvGrpSpPr/>
          <p:nvPr/>
        </p:nvGrpSpPr>
        <p:grpSpPr>
          <a:xfrm>
            <a:off x="7690362" y="1088033"/>
            <a:ext cx="1357651" cy="1760364"/>
            <a:chOff x="6832236" y="1088034"/>
            <a:chExt cx="1357651" cy="1760364"/>
          </a:xfrm>
        </p:grpSpPr>
        <p:sp>
          <p:nvSpPr>
            <p:cNvPr id="24" name="Google Shape;12229;g117094d1d62_7_0">
              <a:extLst>
                <a:ext uri="{FF2B5EF4-FFF2-40B4-BE49-F238E27FC236}">
                  <a16:creationId xmlns:a16="http://schemas.microsoft.com/office/drawing/2014/main" id="{C932FAFC-4182-7848-09FC-24C9CB94CDF3}"/>
                </a:ext>
              </a:extLst>
            </p:cNvPr>
            <p:cNvSpPr/>
            <p:nvPr/>
          </p:nvSpPr>
          <p:spPr>
            <a:xfrm>
              <a:off x="6832236" y="1088034"/>
              <a:ext cx="1357651" cy="484151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28575" cap="flat" cmpd="sng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76200" dist="50800" dir="5400000" algn="tl" rotWithShape="0">
                <a:srgbClr val="4C4846">
                  <a:alpha val="3137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7AC3F8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venir Next LT Pro" panose="020B0504020202020204" pitchFamily="34" charset="0"/>
                </a:rPr>
                <a:t>Factor 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venir Next LT Pro" panose="020B0504020202020204" pitchFamily="34" charset="0"/>
                </a:rPr>
                <a:t>Geographic Presence</a:t>
              </a:r>
              <a:endPara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endParaRPr>
            </a:p>
          </p:txBody>
        </p:sp>
        <p:sp>
          <p:nvSpPr>
            <p:cNvPr id="44" name="Google Shape;12236;g117094d1d62_7_0">
              <a:extLst>
                <a:ext uri="{FF2B5EF4-FFF2-40B4-BE49-F238E27FC236}">
                  <a16:creationId xmlns:a16="http://schemas.microsoft.com/office/drawing/2014/main" id="{BD762A4E-5A83-916A-0FC2-E5D79A425BFB}"/>
                </a:ext>
              </a:extLst>
            </p:cNvPr>
            <p:cNvSpPr/>
            <p:nvPr/>
          </p:nvSpPr>
          <p:spPr>
            <a:xfrm>
              <a:off x="6990354" y="1806983"/>
              <a:ext cx="1041415" cy="1041415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845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C4845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BBE2834-10C5-BD7C-5619-DB83ECA9C445}"/>
              </a:ext>
            </a:extLst>
          </p:cNvPr>
          <p:cNvSpPr txBox="1"/>
          <p:nvPr/>
        </p:nvSpPr>
        <p:spPr>
          <a:xfrm>
            <a:off x="15890" y="3358334"/>
            <a:ext cx="12107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Potential Points </a:t>
            </a:r>
          </a:p>
        </p:txBody>
      </p:sp>
      <p:sp>
        <p:nvSpPr>
          <p:cNvPr id="36" name="Google Shape;12236;g117094d1d62_7_0">
            <a:extLst>
              <a:ext uri="{FF2B5EF4-FFF2-40B4-BE49-F238E27FC236}">
                <a16:creationId xmlns:a16="http://schemas.microsoft.com/office/drawing/2014/main" id="{85DA0273-C246-9D87-7A06-2B5FD5CE1DD3}"/>
              </a:ext>
            </a:extLst>
          </p:cNvPr>
          <p:cNvSpPr/>
          <p:nvPr/>
        </p:nvSpPr>
        <p:spPr>
          <a:xfrm>
            <a:off x="5878424" y="3194878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1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0" name="Google Shape;12236;g117094d1d62_7_0">
            <a:extLst>
              <a:ext uri="{FF2B5EF4-FFF2-40B4-BE49-F238E27FC236}">
                <a16:creationId xmlns:a16="http://schemas.microsoft.com/office/drawing/2014/main" id="{86FAD428-A608-D8AA-91C2-07B0BE566F0B}"/>
              </a:ext>
            </a:extLst>
          </p:cNvPr>
          <p:cNvSpPr/>
          <p:nvPr/>
        </p:nvSpPr>
        <p:spPr>
          <a:xfrm>
            <a:off x="1562262" y="3194075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1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56" name="Google Shape;12236;g117094d1d62_7_0">
            <a:extLst>
              <a:ext uri="{FF2B5EF4-FFF2-40B4-BE49-F238E27FC236}">
                <a16:creationId xmlns:a16="http://schemas.microsoft.com/office/drawing/2014/main" id="{BC0CAD9C-747A-DFDE-DB88-012AC4C23797}"/>
              </a:ext>
            </a:extLst>
          </p:cNvPr>
          <p:cNvSpPr/>
          <p:nvPr/>
        </p:nvSpPr>
        <p:spPr>
          <a:xfrm>
            <a:off x="3720343" y="3194878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69" name="Google Shape;12236;g117094d1d62_7_0">
            <a:extLst>
              <a:ext uri="{FF2B5EF4-FFF2-40B4-BE49-F238E27FC236}">
                <a16:creationId xmlns:a16="http://schemas.microsoft.com/office/drawing/2014/main" id="{BF52BEA2-A01C-2185-CA04-33D8C97E3E5F}"/>
              </a:ext>
            </a:extLst>
          </p:cNvPr>
          <p:cNvSpPr/>
          <p:nvPr/>
        </p:nvSpPr>
        <p:spPr>
          <a:xfrm>
            <a:off x="8036505" y="3194878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0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5" name="Google Shape;12236;g117094d1d62_7_0">
            <a:extLst>
              <a:ext uri="{FF2B5EF4-FFF2-40B4-BE49-F238E27FC236}">
                <a16:creationId xmlns:a16="http://schemas.microsoft.com/office/drawing/2014/main" id="{11C98DDC-3098-068D-8934-099EF6473CB7}"/>
              </a:ext>
            </a:extLst>
          </p:cNvPr>
          <p:cNvSpPr/>
          <p:nvPr/>
        </p:nvSpPr>
        <p:spPr>
          <a:xfrm>
            <a:off x="10194586" y="3194075"/>
            <a:ext cx="658345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9" name="Google Shape;12253;g117094d1d62_7_0">
            <a:extLst>
              <a:ext uri="{FF2B5EF4-FFF2-40B4-BE49-F238E27FC236}">
                <a16:creationId xmlns:a16="http://schemas.microsoft.com/office/drawing/2014/main" id="{8A2C63CD-3C12-F1B0-9955-723BF138F098}"/>
              </a:ext>
            </a:extLst>
          </p:cNvPr>
          <p:cNvSpPr/>
          <p:nvPr/>
        </p:nvSpPr>
        <p:spPr>
          <a:xfrm>
            <a:off x="2830522" y="3358334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0" name="Google Shape;12253;g117094d1d62_7_0">
            <a:extLst>
              <a:ext uri="{FF2B5EF4-FFF2-40B4-BE49-F238E27FC236}">
                <a16:creationId xmlns:a16="http://schemas.microsoft.com/office/drawing/2014/main" id="{CB938708-C16C-EC88-11C0-EF2D3DDDFDD2}"/>
              </a:ext>
            </a:extLst>
          </p:cNvPr>
          <p:cNvSpPr/>
          <p:nvPr/>
        </p:nvSpPr>
        <p:spPr>
          <a:xfrm>
            <a:off x="4981671" y="3351560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1" name="Google Shape;12253;g117094d1d62_7_0">
            <a:extLst>
              <a:ext uri="{FF2B5EF4-FFF2-40B4-BE49-F238E27FC236}">
                <a16:creationId xmlns:a16="http://schemas.microsoft.com/office/drawing/2014/main" id="{F94DB19C-6295-79E4-5AF4-3E80AA79B016}"/>
              </a:ext>
            </a:extLst>
          </p:cNvPr>
          <p:cNvSpPr/>
          <p:nvPr/>
        </p:nvSpPr>
        <p:spPr>
          <a:xfrm>
            <a:off x="7132820" y="3351560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2" name="Google Shape;12253;g117094d1d62_7_0">
            <a:extLst>
              <a:ext uri="{FF2B5EF4-FFF2-40B4-BE49-F238E27FC236}">
                <a16:creationId xmlns:a16="http://schemas.microsoft.com/office/drawing/2014/main" id="{B7BD2743-464A-A7A8-2169-BF8F2E80A7E1}"/>
              </a:ext>
            </a:extLst>
          </p:cNvPr>
          <p:cNvSpPr/>
          <p:nvPr/>
        </p:nvSpPr>
        <p:spPr>
          <a:xfrm>
            <a:off x="9283969" y="3351560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graphicFrame>
        <p:nvGraphicFramePr>
          <p:cNvPr id="95" name="Google Shape;12256;g117094d1d62_7_0">
            <a:extLst>
              <a:ext uri="{FF2B5EF4-FFF2-40B4-BE49-F238E27FC236}">
                <a16:creationId xmlns:a16="http://schemas.microsoft.com/office/drawing/2014/main" id="{9A409206-1C2D-4ACC-22B7-0A2157F69DB8}"/>
              </a:ext>
            </a:extLst>
          </p:cNvPr>
          <p:cNvGraphicFramePr/>
          <p:nvPr/>
        </p:nvGraphicFramePr>
        <p:xfrm>
          <a:off x="7554507" y="4546517"/>
          <a:ext cx="1700977" cy="162869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297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5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8500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46620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10 priority  countrie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20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11-25 priority countrie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778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All other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6" name="Google Shape;12256;g117094d1d62_7_0">
            <a:extLst>
              <a:ext uri="{FF2B5EF4-FFF2-40B4-BE49-F238E27FC236}">
                <a16:creationId xmlns:a16="http://schemas.microsoft.com/office/drawing/2014/main" id="{1386425C-BFCB-E2CD-539A-20B2B62B584A}"/>
              </a:ext>
            </a:extLst>
          </p:cNvPr>
          <p:cNvGraphicFramePr/>
          <p:nvPr/>
        </p:nvGraphicFramePr>
        <p:xfrm>
          <a:off x="5296407" y="4546517"/>
          <a:ext cx="1987297" cy="166433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5157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15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Sell competitive and ancillary solution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Sell competitive solution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Sell ancillary solution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7" name="Google Shape;12256;g117094d1d62_7_0">
            <a:extLst>
              <a:ext uri="{FF2B5EF4-FFF2-40B4-BE49-F238E27FC236}">
                <a16:creationId xmlns:a16="http://schemas.microsoft.com/office/drawing/2014/main" id="{E767168D-BE08-C0E9-5224-CB5A420E48D7}"/>
              </a:ext>
            </a:extLst>
          </p:cNvPr>
          <p:cNvGraphicFramePr/>
          <p:nvPr/>
        </p:nvGraphicFramePr>
        <p:xfrm>
          <a:off x="913631" y="4546517"/>
          <a:ext cx="1824425" cy="159715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19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49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3 priority verticals</a:t>
                      </a:r>
                      <a:endParaRPr sz="1200" b="0" i="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Top 4-6 </a:t>
                      </a: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priority v</a:t>
                      </a: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erticals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All other verticals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8" name="Google Shape;12256;g117094d1d62_7_0">
            <a:extLst>
              <a:ext uri="{FF2B5EF4-FFF2-40B4-BE49-F238E27FC236}">
                <a16:creationId xmlns:a16="http://schemas.microsoft.com/office/drawing/2014/main" id="{CCBB99B1-3257-D967-59CF-E147EAC01232}"/>
              </a:ext>
            </a:extLst>
          </p:cNvPr>
          <p:cNvGraphicFramePr/>
          <p:nvPr/>
        </p:nvGraphicFramePr>
        <p:xfrm>
          <a:off x="3068201" y="4546517"/>
          <a:ext cx="1915577" cy="185314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5106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49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ERP &amp; Supply Chain</a:t>
                      </a:r>
                      <a:endParaRPr sz="1200" b="0" i="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Supply Chain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20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97825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ERP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kumimoji="0" sz="12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Arial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Digital Commerce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kumimoji="0" sz="12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Arial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7" name="Graphic 26" descr="Group of people with solid fill">
            <a:extLst>
              <a:ext uri="{FF2B5EF4-FFF2-40B4-BE49-F238E27FC236}">
                <a16:creationId xmlns:a16="http://schemas.microsoft.com/office/drawing/2014/main" id="{73A22772-94C9-70A5-D7AE-E8B344BF337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40294" y="2044003"/>
            <a:ext cx="548640" cy="548640"/>
          </a:xfrm>
          <a:prstGeom prst="rect">
            <a:avLst/>
          </a:prstGeom>
        </p:spPr>
      </p:pic>
      <p:pic>
        <p:nvPicPr>
          <p:cNvPr id="31" name="Graphic 30" descr="Earth Globe Americas">
            <a:extLst>
              <a:ext uri="{FF2B5EF4-FFF2-40B4-BE49-F238E27FC236}">
                <a16:creationId xmlns:a16="http://schemas.microsoft.com/office/drawing/2014/main" id="{06F2B688-2121-12C5-1468-327462EF9009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94867" y="2049311"/>
            <a:ext cx="548640" cy="548640"/>
          </a:xfrm>
          <a:prstGeom prst="rect">
            <a:avLst/>
          </a:prstGeom>
        </p:spPr>
      </p:pic>
      <p:pic>
        <p:nvPicPr>
          <p:cNvPr id="32" name="Graphic 31" descr="Target Audience">
            <a:extLst>
              <a:ext uri="{FF2B5EF4-FFF2-40B4-BE49-F238E27FC236}">
                <a16:creationId xmlns:a16="http://schemas.microsoft.com/office/drawing/2014/main" id="{48FA69F8-9785-C458-CABB-859C792275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25560" y="2056963"/>
            <a:ext cx="596395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4535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CFF0A10-31EE-3127-BA0B-AD342A728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CFF0A10-31EE-3127-BA0B-AD342A728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12221;g117094d1d62_7_0">
            <a:extLst>
              <a:ext uri="{FF2B5EF4-FFF2-40B4-BE49-F238E27FC236}">
                <a16:creationId xmlns:a16="http://schemas.microsoft.com/office/drawing/2014/main" id="{0D8A5AA7-F423-CD84-A818-98CF33344358}"/>
              </a:ext>
            </a:extLst>
          </p:cNvPr>
          <p:cNvSpPr txBox="1">
            <a:spLocks/>
          </p:cNvSpPr>
          <p:nvPr/>
        </p:nvSpPr>
        <p:spPr>
          <a:xfrm>
            <a:off x="759601" y="466842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rial"/>
                <a:sym typeface="Avenir Next LT Pro" panose="020B0504020202020204" pitchFamily="34" charset="0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Ideal Partner Profile Example (Existing Partners)</a:t>
            </a:r>
          </a:p>
        </p:txBody>
      </p:sp>
      <p:cxnSp>
        <p:nvCxnSpPr>
          <p:cNvPr id="20" name="Google Shape;12;p4">
            <a:extLst>
              <a:ext uri="{FF2B5EF4-FFF2-40B4-BE49-F238E27FC236}">
                <a16:creationId xmlns:a16="http://schemas.microsoft.com/office/drawing/2014/main" id="{1CB8C095-2275-F695-7565-A43292584D5E}"/>
              </a:ext>
            </a:extLst>
          </p:cNvPr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12229;g117094d1d62_7_0">
            <a:extLst>
              <a:ext uri="{FF2B5EF4-FFF2-40B4-BE49-F238E27FC236}">
                <a16:creationId xmlns:a16="http://schemas.microsoft.com/office/drawing/2014/main" id="{8FE127FD-7978-86D6-633D-A89579F7FA48}"/>
              </a:ext>
            </a:extLst>
          </p:cNvPr>
          <p:cNvSpPr/>
          <p:nvPr/>
        </p:nvSpPr>
        <p:spPr>
          <a:xfrm>
            <a:off x="745847" y="1940928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Bookings Growth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6" name="Google Shape;12229;g117094d1d62_7_0">
            <a:extLst>
              <a:ext uri="{FF2B5EF4-FFF2-40B4-BE49-F238E27FC236}">
                <a16:creationId xmlns:a16="http://schemas.microsoft.com/office/drawing/2014/main" id="{13060D16-6438-9DE2-8542-E2B1DCC6EF37}"/>
              </a:ext>
            </a:extLst>
          </p:cNvPr>
          <p:cNvSpPr/>
          <p:nvPr/>
        </p:nvSpPr>
        <p:spPr>
          <a:xfrm>
            <a:off x="3081511" y="1934679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Key Vertical Focus</a:t>
            </a:r>
          </a:p>
        </p:txBody>
      </p:sp>
      <p:sp>
        <p:nvSpPr>
          <p:cNvPr id="7" name="Google Shape;12229;g117094d1d62_7_0">
            <a:extLst>
              <a:ext uri="{FF2B5EF4-FFF2-40B4-BE49-F238E27FC236}">
                <a16:creationId xmlns:a16="http://schemas.microsoft.com/office/drawing/2014/main" id="{8AA26B12-B52C-8D5C-87EC-8FCD90936016}"/>
              </a:ext>
            </a:extLst>
          </p:cNvPr>
          <p:cNvSpPr/>
          <p:nvPr/>
        </p:nvSpPr>
        <p:spPr>
          <a:xfrm>
            <a:off x="5417175" y="1934679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Product Set Capability</a:t>
            </a:r>
          </a:p>
        </p:txBody>
      </p:sp>
      <p:sp>
        <p:nvSpPr>
          <p:cNvPr id="10" name="Google Shape;12229;g117094d1d62_7_0">
            <a:extLst>
              <a:ext uri="{FF2B5EF4-FFF2-40B4-BE49-F238E27FC236}">
                <a16:creationId xmlns:a16="http://schemas.microsoft.com/office/drawing/2014/main" id="{F8B81F4A-B35C-5799-756D-EB76A011220C}"/>
              </a:ext>
            </a:extLst>
          </p:cNvPr>
          <p:cNvSpPr/>
          <p:nvPr/>
        </p:nvSpPr>
        <p:spPr>
          <a:xfrm>
            <a:off x="7752838" y="1934679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New Business Ratio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11" name="Google Shape;12229;g117094d1d62_7_0">
            <a:extLst>
              <a:ext uri="{FF2B5EF4-FFF2-40B4-BE49-F238E27FC236}">
                <a16:creationId xmlns:a16="http://schemas.microsoft.com/office/drawing/2014/main" id="{D1F36362-414D-F1E5-B14F-DF2119D0ABFA}"/>
              </a:ext>
            </a:extLst>
          </p:cNvPr>
          <p:cNvSpPr/>
          <p:nvPr/>
        </p:nvSpPr>
        <p:spPr>
          <a:xfrm>
            <a:off x="10088501" y="1934679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Geographic Presence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14" name="Google Shape;12236;g117094d1d62_7_0">
            <a:extLst>
              <a:ext uri="{FF2B5EF4-FFF2-40B4-BE49-F238E27FC236}">
                <a16:creationId xmlns:a16="http://schemas.microsoft.com/office/drawing/2014/main" id="{F07088CF-4014-03ED-F60B-F77D5825503F}"/>
              </a:ext>
            </a:extLst>
          </p:cNvPr>
          <p:cNvSpPr/>
          <p:nvPr/>
        </p:nvSpPr>
        <p:spPr>
          <a:xfrm>
            <a:off x="903965" y="2653628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15" name="Google Shape;12236;g117094d1d62_7_0">
            <a:extLst>
              <a:ext uri="{FF2B5EF4-FFF2-40B4-BE49-F238E27FC236}">
                <a16:creationId xmlns:a16="http://schemas.microsoft.com/office/drawing/2014/main" id="{79276C29-EB57-CEEA-06F5-DB02C983E9BA}"/>
              </a:ext>
            </a:extLst>
          </p:cNvPr>
          <p:cNvSpPr/>
          <p:nvPr/>
        </p:nvSpPr>
        <p:spPr>
          <a:xfrm>
            <a:off x="3239629" y="2653628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16" name="Google Shape;12236;g117094d1d62_7_0">
            <a:extLst>
              <a:ext uri="{FF2B5EF4-FFF2-40B4-BE49-F238E27FC236}">
                <a16:creationId xmlns:a16="http://schemas.microsoft.com/office/drawing/2014/main" id="{F05A32DE-9B8E-B5BA-D44B-C5235112AB69}"/>
              </a:ext>
            </a:extLst>
          </p:cNvPr>
          <p:cNvSpPr/>
          <p:nvPr/>
        </p:nvSpPr>
        <p:spPr>
          <a:xfrm>
            <a:off x="5575293" y="2653628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27" name="Google Shape;12236;g117094d1d62_7_0">
            <a:extLst>
              <a:ext uri="{FF2B5EF4-FFF2-40B4-BE49-F238E27FC236}">
                <a16:creationId xmlns:a16="http://schemas.microsoft.com/office/drawing/2014/main" id="{8BBEC551-C803-FA41-28FD-8F56C865612E}"/>
              </a:ext>
            </a:extLst>
          </p:cNvPr>
          <p:cNvSpPr/>
          <p:nvPr/>
        </p:nvSpPr>
        <p:spPr>
          <a:xfrm>
            <a:off x="7910957" y="2653628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31" name="Google Shape;12236;g117094d1d62_7_0">
            <a:extLst>
              <a:ext uri="{FF2B5EF4-FFF2-40B4-BE49-F238E27FC236}">
                <a16:creationId xmlns:a16="http://schemas.microsoft.com/office/drawing/2014/main" id="{FB29E61F-3D21-2EA6-46D9-B4A81343FEC2}"/>
              </a:ext>
            </a:extLst>
          </p:cNvPr>
          <p:cNvSpPr/>
          <p:nvPr/>
        </p:nvSpPr>
        <p:spPr>
          <a:xfrm>
            <a:off x="10246620" y="2653628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32" name="Google Shape;12253;g117094d1d62_7_0">
            <a:extLst>
              <a:ext uri="{FF2B5EF4-FFF2-40B4-BE49-F238E27FC236}">
                <a16:creationId xmlns:a16="http://schemas.microsoft.com/office/drawing/2014/main" id="{61AB0216-3470-4E7E-82BD-A729F67B992B}"/>
              </a:ext>
            </a:extLst>
          </p:cNvPr>
          <p:cNvSpPr/>
          <p:nvPr/>
        </p:nvSpPr>
        <p:spPr>
          <a:xfrm>
            <a:off x="2136719" y="3018496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3" name="Google Shape;12253;g117094d1d62_7_0">
            <a:extLst>
              <a:ext uri="{FF2B5EF4-FFF2-40B4-BE49-F238E27FC236}">
                <a16:creationId xmlns:a16="http://schemas.microsoft.com/office/drawing/2014/main" id="{DB93E8F1-FB1D-B895-969E-4CDBE98E2F4B}"/>
              </a:ext>
            </a:extLst>
          </p:cNvPr>
          <p:cNvSpPr/>
          <p:nvPr/>
        </p:nvSpPr>
        <p:spPr>
          <a:xfrm>
            <a:off x="4644310" y="3018497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5" name="Google Shape;12253;g117094d1d62_7_0">
            <a:extLst>
              <a:ext uri="{FF2B5EF4-FFF2-40B4-BE49-F238E27FC236}">
                <a16:creationId xmlns:a16="http://schemas.microsoft.com/office/drawing/2014/main" id="{2E9A34BD-EE6F-E090-8EB6-E9F404E88EE3}"/>
              </a:ext>
            </a:extLst>
          </p:cNvPr>
          <p:cNvSpPr/>
          <p:nvPr/>
        </p:nvSpPr>
        <p:spPr>
          <a:xfrm>
            <a:off x="5898107" y="3018497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7" name="Google Shape;12253;g117094d1d62_7_0">
            <a:extLst>
              <a:ext uri="{FF2B5EF4-FFF2-40B4-BE49-F238E27FC236}">
                <a16:creationId xmlns:a16="http://schemas.microsoft.com/office/drawing/2014/main" id="{F4F406BD-1DD4-AB83-D1CE-E295A509D07D}"/>
              </a:ext>
            </a:extLst>
          </p:cNvPr>
          <p:cNvSpPr/>
          <p:nvPr/>
        </p:nvSpPr>
        <p:spPr>
          <a:xfrm>
            <a:off x="7151901" y="3018497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9" name="Google Shape;12253;g117094d1d62_7_0">
            <a:extLst>
              <a:ext uri="{FF2B5EF4-FFF2-40B4-BE49-F238E27FC236}">
                <a16:creationId xmlns:a16="http://schemas.microsoft.com/office/drawing/2014/main" id="{AF29B1A2-37BD-726C-5FAF-B4A09229D0C7}"/>
              </a:ext>
            </a:extLst>
          </p:cNvPr>
          <p:cNvSpPr/>
          <p:nvPr/>
        </p:nvSpPr>
        <p:spPr>
          <a:xfrm>
            <a:off x="9659493" y="3018495"/>
            <a:ext cx="347138" cy="347138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55" name="Graphic 54" descr="Bar graph with upward trend">
            <a:extLst>
              <a:ext uri="{FF2B5EF4-FFF2-40B4-BE49-F238E27FC236}">
                <a16:creationId xmlns:a16="http://schemas.microsoft.com/office/drawing/2014/main" id="{4AD21B1C-CCAB-1E23-F787-19C9D41B50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3604" y="2905620"/>
            <a:ext cx="592023" cy="544618"/>
          </a:xfrm>
          <a:prstGeom prst="rect">
            <a:avLst/>
          </a:prstGeom>
        </p:spPr>
      </p:pic>
      <p:pic>
        <p:nvPicPr>
          <p:cNvPr id="57" name="Graphic 56" descr="Unlock">
            <a:extLst>
              <a:ext uri="{FF2B5EF4-FFF2-40B4-BE49-F238E27FC236}">
                <a16:creationId xmlns:a16="http://schemas.microsoft.com/office/drawing/2014/main" id="{C9F1CE4A-B8F1-273C-4A51-5ADF1A1D5F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63309" y="2905620"/>
            <a:ext cx="592023" cy="544618"/>
          </a:xfrm>
          <a:prstGeom prst="rect">
            <a:avLst/>
          </a:prstGeom>
        </p:spPr>
      </p:pic>
      <p:pic>
        <p:nvPicPr>
          <p:cNvPr id="58" name="Graphic 57" descr="Money">
            <a:extLst>
              <a:ext uri="{FF2B5EF4-FFF2-40B4-BE49-F238E27FC236}">
                <a16:creationId xmlns:a16="http://schemas.microsoft.com/office/drawing/2014/main" id="{41A613E3-0DB1-BD45-0B23-223E28F6FD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182719" y="2890649"/>
            <a:ext cx="544617" cy="544618"/>
          </a:xfrm>
          <a:prstGeom prst="rect">
            <a:avLst/>
          </a:prstGeom>
        </p:spPr>
      </p:pic>
      <p:pic>
        <p:nvPicPr>
          <p:cNvPr id="59" name="Graphic 58" descr="Pie chart">
            <a:extLst>
              <a:ext uri="{FF2B5EF4-FFF2-40B4-BE49-F238E27FC236}">
                <a16:creationId xmlns:a16="http://schemas.microsoft.com/office/drawing/2014/main" id="{7BBBD789-4BA6-231C-6632-7509EDA402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23014" y="2905620"/>
            <a:ext cx="592023" cy="544618"/>
          </a:xfrm>
          <a:prstGeom prst="rect">
            <a:avLst/>
          </a:prstGeom>
        </p:spPr>
      </p:pic>
      <p:pic>
        <p:nvPicPr>
          <p:cNvPr id="62" name="Graphic 61" descr="Earth Globe Americas">
            <a:extLst>
              <a:ext uri="{FF2B5EF4-FFF2-40B4-BE49-F238E27FC236}">
                <a16:creationId xmlns:a16="http://schemas.microsoft.com/office/drawing/2014/main" id="{F27AED44-29CF-0386-742C-BFBD5DF79AC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495019" y="2890649"/>
            <a:ext cx="544617" cy="544618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C93B2A8-E09B-4565-34DF-E373B170F89C}"/>
              </a:ext>
            </a:extLst>
          </p:cNvPr>
          <p:cNvSpPr/>
          <p:nvPr/>
        </p:nvSpPr>
        <p:spPr>
          <a:xfrm>
            <a:off x="5273040" y="4145438"/>
            <a:ext cx="16459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rial"/>
              </a:rPr>
              <a:t>Identification of Partners’ capability to sell, deliver and support ERP, Digital Commerce and/or supply chain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08B6B55-B380-F2D3-E30C-8BFF1208ACA2}"/>
              </a:ext>
            </a:extLst>
          </p:cNvPr>
          <p:cNvSpPr/>
          <p:nvPr/>
        </p:nvSpPr>
        <p:spPr>
          <a:xfrm>
            <a:off x="2937376" y="4145438"/>
            <a:ext cx="16459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Elevates Partners selling into key ACME verticals/new verticals that are of interes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E076390-0E00-D74D-550E-BF2F979EA793}"/>
              </a:ext>
            </a:extLst>
          </p:cNvPr>
          <p:cNvSpPr/>
          <p:nvPr/>
        </p:nvSpPr>
        <p:spPr>
          <a:xfrm>
            <a:off x="601712" y="4145438"/>
            <a:ext cx="16459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Highlights Partners who can grow ACME market share in their customer bas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9F05084-A6F4-3564-419B-272F7C9A2637}"/>
              </a:ext>
            </a:extLst>
          </p:cNvPr>
          <p:cNvSpPr/>
          <p:nvPr/>
        </p:nvSpPr>
        <p:spPr>
          <a:xfrm>
            <a:off x="7608703" y="4145438"/>
            <a:ext cx="16459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Prioritizes Partners who can generate net new business (customers) for ACME and have marking resources and capabilities.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88443F5-051A-9D73-BC89-F49597F31B5E}"/>
              </a:ext>
            </a:extLst>
          </p:cNvPr>
          <p:cNvSpPr/>
          <p:nvPr/>
        </p:nvSpPr>
        <p:spPr>
          <a:xfrm>
            <a:off x="9944366" y="4145438"/>
            <a:ext cx="16459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Arial"/>
                <a:sym typeface="Avenir Next LT Pro" panose="020B0504020202020204" pitchFamily="34" charset="0"/>
              </a:rPr>
              <a:t>Identify Partners who have market presence in specific geographic area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4A23EC8-71D6-8E3C-EB50-40A939917B38}"/>
              </a:ext>
            </a:extLst>
          </p:cNvPr>
          <p:cNvCxnSpPr/>
          <p:nvPr/>
        </p:nvCxnSpPr>
        <p:spPr>
          <a:xfrm>
            <a:off x="601712" y="4089170"/>
            <a:ext cx="16459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921523F-7560-5614-C372-E8E35C3C0FF3}"/>
              </a:ext>
            </a:extLst>
          </p:cNvPr>
          <p:cNvCxnSpPr/>
          <p:nvPr/>
        </p:nvCxnSpPr>
        <p:spPr>
          <a:xfrm>
            <a:off x="2937376" y="4089170"/>
            <a:ext cx="16459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50723F7-CA9C-81ED-BD88-09F758F2DD04}"/>
              </a:ext>
            </a:extLst>
          </p:cNvPr>
          <p:cNvCxnSpPr/>
          <p:nvPr/>
        </p:nvCxnSpPr>
        <p:spPr>
          <a:xfrm>
            <a:off x="9944366" y="4089170"/>
            <a:ext cx="16459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D0738439-5D76-E5CE-6868-DF7EDD78C2FF}"/>
              </a:ext>
            </a:extLst>
          </p:cNvPr>
          <p:cNvCxnSpPr/>
          <p:nvPr/>
        </p:nvCxnSpPr>
        <p:spPr>
          <a:xfrm>
            <a:off x="5273040" y="4089170"/>
            <a:ext cx="16459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30D5D27-0CAC-4763-B007-ED2F4705B881}"/>
              </a:ext>
            </a:extLst>
          </p:cNvPr>
          <p:cNvCxnSpPr/>
          <p:nvPr/>
        </p:nvCxnSpPr>
        <p:spPr>
          <a:xfrm>
            <a:off x="7608703" y="4089170"/>
            <a:ext cx="16459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4760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05B1A0-81B3-F09A-DACC-B0C3286FDB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05B1A0-81B3-F09A-DACC-B0C3286FD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Google Shape;12256;g117094d1d62_7_0">
            <a:extLst>
              <a:ext uri="{FF2B5EF4-FFF2-40B4-BE49-F238E27FC236}">
                <a16:creationId xmlns:a16="http://schemas.microsoft.com/office/drawing/2014/main" id="{570D3A0D-615D-309B-0F0B-5283E8B5686F}"/>
              </a:ext>
            </a:extLst>
          </p:cNvPr>
          <p:cNvGraphicFramePr/>
          <p:nvPr/>
        </p:nvGraphicFramePr>
        <p:xfrm>
          <a:off x="7893537" y="4595806"/>
          <a:ext cx="1554481" cy="146304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85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20%+ NB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5%-20% NB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0-5% NB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5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Google Shape;12221;g117094d1d62_7_0">
            <a:extLst>
              <a:ext uri="{FF2B5EF4-FFF2-40B4-BE49-F238E27FC236}">
                <a16:creationId xmlns:a16="http://schemas.microsoft.com/office/drawing/2014/main" id="{0D8A5AA7-F423-CD84-A818-98CF33344358}"/>
              </a:ext>
            </a:extLst>
          </p:cNvPr>
          <p:cNvSpPr txBox="1">
            <a:spLocks/>
          </p:cNvSpPr>
          <p:nvPr/>
        </p:nvSpPr>
        <p:spPr>
          <a:xfrm>
            <a:off x="759601" y="466842"/>
            <a:ext cx="10971212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rial"/>
                <a:sym typeface="Avenir Next LT Pro" panose="020B0504020202020204" pitchFamily="34" charset="0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Ideal Partner Profile Example (Existing Partners)</a:t>
            </a:r>
          </a:p>
        </p:txBody>
      </p:sp>
      <p:cxnSp>
        <p:nvCxnSpPr>
          <p:cNvPr id="20" name="Google Shape;12;p4">
            <a:extLst>
              <a:ext uri="{FF2B5EF4-FFF2-40B4-BE49-F238E27FC236}">
                <a16:creationId xmlns:a16="http://schemas.microsoft.com/office/drawing/2014/main" id="{1CB8C095-2275-F695-7565-A43292584D5E}"/>
              </a:ext>
            </a:extLst>
          </p:cNvPr>
          <p:cNvCxnSpPr>
            <a:cxnSpLocks/>
          </p:cNvCxnSpPr>
          <p:nvPr/>
        </p:nvCxnSpPr>
        <p:spPr>
          <a:xfrm>
            <a:off x="47983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12229;g117094d1d62_7_0">
            <a:extLst>
              <a:ext uri="{FF2B5EF4-FFF2-40B4-BE49-F238E27FC236}">
                <a16:creationId xmlns:a16="http://schemas.microsoft.com/office/drawing/2014/main" id="{4502085B-F378-D959-B4F7-0D0ABB3D74A3}"/>
              </a:ext>
            </a:extLst>
          </p:cNvPr>
          <p:cNvSpPr/>
          <p:nvPr/>
        </p:nvSpPr>
        <p:spPr>
          <a:xfrm>
            <a:off x="1010813" y="1075330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Bookings Growth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12" name="Google Shape;12229;g117094d1d62_7_0">
            <a:extLst>
              <a:ext uri="{FF2B5EF4-FFF2-40B4-BE49-F238E27FC236}">
                <a16:creationId xmlns:a16="http://schemas.microsoft.com/office/drawing/2014/main" id="{E35375E9-76AD-5A19-CFC7-B856576F6538}"/>
              </a:ext>
            </a:extLst>
          </p:cNvPr>
          <p:cNvSpPr/>
          <p:nvPr/>
        </p:nvSpPr>
        <p:spPr>
          <a:xfrm>
            <a:off x="3346477" y="1065316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Key Vertical Focus</a:t>
            </a:r>
          </a:p>
        </p:txBody>
      </p:sp>
      <p:sp>
        <p:nvSpPr>
          <p:cNvPr id="18" name="Google Shape;12229;g117094d1d62_7_0">
            <a:extLst>
              <a:ext uri="{FF2B5EF4-FFF2-40B4-BE49-F238E27FC236}">
                <a16:creationId xmlns:a16="http://schemas.microsoft.com/office/drawing/2014/main" id="{D2BEDED3-0E13-01C9-3D72-59E9D9956C3C}"/>
              </a:ext>
            </a:extLst>
          </p:cNvPr>
          <p:cNvSpPr/>
          <p:nvPr/>
        </p:nvSpPr>
        <p:spPr>
          <a:xfrm>
            <a:off x="5682141" y="1065316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Product Set Capability</a:t>
            </a:r>
          </a:p>
        </p:txBody>
      </p:sp>
      <p:sp>
        <p:nvSpPr>
          <p:cNvPr id="30" name="Google Shape;12229;g117094d1d62_7_0">
            <a:extLst>
              <a:ext uri="{FF2B5EF4-FFF2-40B4-BE49-F238E27FC236}">
                <a16:creationId xmlns:a16="http://schemas.microsoft.com/office/drawing/2014/main" id="{12EF454E-9562-EA28-4703-A361E26A3317}"/>
              </a:ext>
            </a:extLst>
          </p:cNvPr>
          <p:cNvSpPr/>
          <p:nvPr/>
        </p:nvSpPr>
        <p:spPr>
          <a:xfrm>
            <a:off x="8017804" y="1065316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New Business Ratio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3" name="Google Shape;12229;g117094d1d62_7_0">
            <a:extLst>
              <a:ext uri="{FF2B5EF4-FFF2-40B4-BE49-F238E27FC236}">
                <a16:creationId xmlns:a16="http://schemas.microsoft.com/office/drawing/2014/main" id="{77E053FA-C7CD-D8F7-2047-6C98F3106DD6}"/>
              </a:ext>
            </a:extLst>
          </p:cNvPr>
          <p:cNvSpPr/>
          <p:nvPr/>
        </p:nvSpPr>
        <p:spPr>
          <a:xfrm>
            <a:off x="10353467" y="1065316"/>
            <a:ext cx="1357651" cy="484151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4C4846">
                <a:alpha val="3137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Factor 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Geographic Presence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venir Next LT Pro" panose="020B0504020202020204" pitchFamily="34" charset="0"/>
            </a:endParaRPr>
          </a:p>
        </p:txBody>
      </p:sp>
      <p:sp>
        <p:nvSpPr>
          <p:cNvPr id="8" name="Google Shape;12236;g117094d1d62_7_0">
            <a:extLst>
              <a:ext uri="{FF2B5EF4-FFF2-40B4-BE49-F238E27FC236}">
                <a16:creationId xmlns:a16="http://schemas.microsoft.com/office/drawing/2014/main" id="{B668C54A-0519-FF00-C9BA-E0FB7CBE8595}"/>
              </a:ext>
            </a:extLst>
          </p:cNvPr>
          <p:cNvSpPr/>
          <p:nvPr/>
        </p:nvSpPr>
        <p:spPr>
          <a:xfrm>
            <a:off x="1168931" y="1784265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21" name="Google Shape;12236;g117094d1d62_7_0">
            <a:extLst>
              <a:ext uri="{FF2B5EF4-FFF2-40B4-BE49-F238E27FC236}">
                <a16:creationId xmlns:a16="http://schemas.microsoft.com/office/drawing/2014/main" id="{87548E64-454A-F25C-9D7F-2C3E419AB39B}"/>
              </a:ext>
            </a:extLst>
          </p:cNvPr>
          <p:cNvSpPr/>
          <p:nvPr/>
        </p:nvSpPr>
        <p:spPr>
          <a:xfrm>
            <a:off x="3504595" y="1784265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33" name="Google Shape;12236;g117094d1d62_7_0">
            <a:extLst>
              <a:ext uri="{FF2B5EF4-FFF2-40B4-BE49-F238E27FC236}">
                <a16:creationId xmlns:a16="http://schemas.microsoft.com/office/drawing/2014/main" id="{BA9FB12E-1338-066E-7988-8BAFB9C9F3B1}"/>
              </a:ext>
            </a:extLst>
          </p:cNvPr>
          <p:cNvSpPr/>
          <p:nvPr/>
        </p:nvSpPr>
        <p:spPr>
          <a:xfrm>
            <a:off x="5840259" y="1784265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6" name="Google Shape;12236;g117094d1d62_7_0">
            <a:extLst>
              <a:ext uri="{FF2B5EF4-FFF2-40B4-BE49-F238E27FC236}">
                <a16:creationId xmlns:a16="http://schemas.microsoft.com/office/drawing/2014/main" id="{BA9EAC78-6282-ABA1-F97A-F8E197C0D558}"/>
              </a:ext>
            </a:extLst>
          </p:cNvPr>
          <p:cNvSpPr/>
          <p:nvPr/>
        </p:nvSpPr>
        <p:spPr>
          <a:xfrm>
            <a:off x="8175923" y="1784265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8" name="Google Shape;12236;g117094d1d62_7_0">
            <a:extLst>
              <a:ext uri="{FF2B5EF4-FFF2-40B4-BE49-F238E27FC236}">
                <a16:creationId xmlns:a16="http://schemas.microsoft.com/office/drawing/2014/main" id="{4F2FD774-D1AD-6095-0467-955956F8D22A}"/>
              </a:ext>
            </a:extLst>
          </p:cNvPr>
          <p:cNvSpPr/>
          <p:nvPr/>
        </p:nvSpPr>
        <p:spPr>
          <a:xfrm>
            <a:off x="10511586" y="1784265"/>
            <a:ext cx="1041415" cy="1041415"/>
          </a:xfrm>
          <a:prstGeom prst="ellipse">
            <a:avLst/>
          </a:prstGeom>
          <a:solidFill>
            <a:schemeClr val="tx1"/>
          </a:solidFill>
          <a:ln w="76200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pic>
        <p:nvPicPr>
          <p:cNvPr id="22" name="Graphic 21" descr="Bar graph with upward trend">
            <a:extLst>
              <a:ext uri="{FF2B5EF4-FFF2-40B4-BE49-F238E27FC236}">
                <a16:creationId xmlns:a16="http://schemas.microsoft.com/office/drawing/2014/main" id="{5603B636-2B30-CDBE-A76B-AD7A3B8F7D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8570" y="2036257"/>
            <a:ext cx="592023" cy="544618"/>
          </a:xfrm>
          <a:prstGeom prst="rect">
            <a:avLst/>
          </a:prstGeom>
        </p:spPr>
      </p:pic>
      <p:pic>
        <p:nvPicPr>
          <p:cNvPr id="23" name="Graphic 22" descr="Unlock">
            <a:extLst>
              <a:ext uri="{FF2B5EF4-FFF2-40B4-BE49-F238E27FC236}">
                <a16:creationId xmlns:a16="http://schemas.microsoft.com/office/drawing/2014/main" id="{1F7CA5B7-050A-3C8F-0478-FEFC24E01D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28275" y="2036257"/>
            <a:ext cx="592023" cy="544618"/>
          </a:xfrm>
          <a:prstGeom prst="rect">
            <a:avLst/>
          </a:prstGeom>
        </p:spPr>
      </p:pic>
      <p:pic>
        <p:nvPicPr>
          <p:cNvPr id="25" name="Graphic 24" descr="Money">
            <a:extLst>
              <a:ext uri="{FF2B5EF4-FFF2-40B4-BE49-F238E27FC236}">
                <a16:creationId xmlns:a16="http://schemas.microsoft.com/office/drawing/2014/main" id="{CDB10264-3510-929B-AC21-9FABE7AA0C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7685" y="2021286"/>
            <a:ext cx="544617" cy="544618"/>
          </a:xfrm>
          <a:prstGeom prst="rect">
            <a:avLst/>
          </a:prstGeom>
        </p:spPr>
      </p:pic>
      <p:pic>
        <p:nvPicPr>
          <p:cNvPr id="26" name="Graphic 25" descr="Pie chart">
            <a:extLst>
              <a:ext uri="{FF2B5EF4-FFF2-40B4-BE49-F238E27FC236}">
                <a16:creationId xmlns:a16="http://schemas.microsoft.com/office/drawing/2014/main" id="{81C560A4-69ED-127F-872A-4A43625D179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87980" y="2036257"/>
            <a:ext cx="592023" cy="544618"/>
          </a:xfrm>
          <a:prstGeom prst="rect">
            <a:avLst/>
          </a:prstGeom>
        </p:spPr>
      </p:pic>
      <p:pic>
        <p:nvPicPr>
          <p:cNvPr id="29" name="Graphic 28" descr="Earth Globe Americas">
            <a:extLst>
              <a:ext uri="{FF2B5EF4-FFF2-40B4-BE49-F238E27FC236}">
                <a16:creationId xmlns:a16="http://schemas.microsoft.com/office/drawing/2014/main" id="{195DD744-3468-C91F-7995-089C448225DA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759985" y="2021286"/>
            <a:ext cx="544617" cy="544618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EBBE2834-10C5-BD7C-5619-DB83ECA9C445}"/>
              </a:ext>
            </a:extLst>
          </p:cNvPr>
          <p:cNvSpPr txBox="1"/>
          <p:nvPr/>
        </p:nvSpPr>
        <p:spPr>
          <a:xfrm>
            <a:off x="115894" y="3252316"/>
            <a:ext cx="12575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7AC3F8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venir Next LT Pro" panose="020B0504020202020204" pitchFamily="34" charset="0"/>
              </a:rPr>
              <a:t>Potential Points </a:t>
            </a:r>
          </a:p>
        </p:txBody>
      </p:sp>
      <p:sp>
        <p:nvSpPr>
          <p:cNvPr id="36" name="Google Shape;12236;g117094d1d62_7_0">
            <a:extLst>
              <a:ext uri="{FF2B5EF4-FFF2-40B4-BE49-F238E27FC236}">
                <a16:creationId xmlns:a16="http://schemas.microsoft.com/office/drawing/2014/main" id="{85DA0273-C246-9D87-7A06-2B5FD5CE1DD3}"/>
              </a:ext>
            </a:extLst>
          </p:cNvPr>
          <p:cNvSpPr/>
          <p:nvPr/>
        </p:nvSpPr>
        <p:spPr>
          <a:xfrm>
            <a:off x="6013752" y="3172160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40" name="Google Shape;12236;g117094d1d62_7_0">
            <a:extLst>
              <a:ext uri="{FF2B5EF4-FFF2-40B4-BE49-F238E27FC236}">
                <a16:creationId xmlns:a16="http://schemas.microsoft.com/office/drawing/2014/main" id="{86FAD428-A608-D8AA-91C2-07B0BE566F0B}"/>
              </a:ext>
            </a:extLst>
          </p:cNvPr>
          <p:cNvSpPr/>
          <p:nvPr/>
        </p:nvSpPr>
        <p:spPr>
          <a:xfrm>
            <a:off x="1346432" y="3171357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56" name="Google Shape;12236;g117094d1d62_7_0">
            <a:extLst>
              <a:ext uri="{FF2B5EF4-FFF2-40B4-BE49-F238E27FC236}">
                <a16:creationId xmlns:a16="http://schemas.microsoft.com/office/drawing/2014/main" id="{BC0CAD9C-747A-DFDE-DB88-012AC4C23797}"/>
              </a:ext>
            </a:extLst>
          </p:cNvPr>
          <p:cNvSpPr/>
          <p:nvPr/>
        </p:nvSpPr>
        <p:spPr>
          <a:xfrm>
            <a:off x="3680092" y="3172160"/>
            <a:ext cx="636297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1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2" name="Google Shape;12236;g117094d1d62_7_0">
            <a:extLst>
              <a:ext uri="{FF2B5EF4-FFF2-40B4-BE49-F238E27FC236}">
                <a16:creationId xmlns:a16="http://schemas.microsoft.com/office/drawing/2014/main" id="{654BCF72-3DC2-385B-6DEE-BC523B1A2276}"/>
              </a:ext>
            </a:extLst>
          </p:cNvPr>
          <p:cNvSpPr/>
          <p:nvPr/>
        </p:nvSpPr>
        <p:spPr>
          <a:xfrm>
            <a:off x="10703119" y="3172160"/>
            <a:ext cx="658345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15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75" name="Google Shape;12236;g117094d1d62_7_0">
            <a:extLst>
              <a:ext uri="{FF2B5EF4-FFF2-40B4-BE49-F238E27FC236}">
                <a16:creationId xmlns:a16="http://schemas.microsoft.com/office/drawing/2014/main" id="{11C98DDC-3098-068D-8934-099EF6473CB7}"/>
              </a:ext>
            </a:extLst>
          </p:cNvPr>
          <p:cNvSpPr/>
          <p:nvPr/>
        </p:nvSpPr>
        <p:spPr>
          <a:xfrm>
            <a:off x="8347412" y="3172160"/>
            <a:ext cx="658345" cy="63629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rPr>
              <a:t>20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89" name="Google Shape;12253;g117094d1d62_7_0">
            <a:extLst>
              <a:ext uri="{FF2B5EF4-FFF2-40B4-BE49-F238E27FC236}">
                <a16:creationId xmlns:a16="http://schemas.microsoft.com/office/drawing/2014/main" id="{8A2C63CD-3C12-F1B0-9955-723BF138F098}"/>
              </a:ext>
            </a:extLst>
          </p:cNvPr>
          <p:cNvSpPr/>
          <p:nvPr/>
        </p:nvSpPr>
        <p:spPr>
          <a:xfrm>
            <a:off x="2401685" y="3346893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0" name="Google Shape;12253;g117094d1d62_7_0">
            <a:extLst>
              <a:ext uri="{FF2B5EF4-FFF2-40B4-BE49-F238E27FC236}">
                <a16:creationId xmlns:a16="http://schemas.microsoft.com/office/drawing/2014/main" id="{CB938708-C16C-EC88-11C0-EF2D3DDDFDD2}"/>
              </a:ext>
            </a:extLst>
          </p:cNvPr>
          <p:cNvSpPr/>
          <p:nvPr/>
        </p:nvSpPr>
        <p:spPr>
          <a:xfrm>
            <a:off x="4909276" y="3346894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1" name="Google Shape;12253;g117094d1d62_7_0">
            <a:extLst>
              <a:ext uri="{FF2B5EF4-FFF2-40B4-BE49-F238E27FC236}">
                <a16:creationId xmlns:a16="http://schemas.microsoft.com/office/drawing/2014/main" id="{F94DB19C-6295-79E4-5AF4-3E80AA79B016}"/>
              </a:ext>
            </a:extLst>
          </p:cNvPr>
          <p:cNvSpPr/>
          <p:nvPr/>
        </p:nvSpPr>
        <p:spPr>
          <a:xfrm>
            <a:off x="7416867" y="3346894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sp>
        <p:nvSpPr>
          <p:cNvPr id="93" name="Google Shape;12253;g117094d1d62_7_0">
            <a:extLst>
              <a:ext uri="{FF2B5EF4-FFF2-40B4-BE49-F238E27FC236}">
                <a16:creationId xmlns:a16="http://schemas.microsoft.com/office/drawing/2014/main" id="{DB59E515-2405-C18C-2364-991149BA50D5}"/>
              </a:ext>
            </a:extLst>
          </p:cNvPr>
          <p:cNvSpPr/>
          <p:nvPr/>
        </p:nvSpPr>
        <p:spPr>
          <a:xfrm>
            <a:off x="9924459" y="3346892"/>
            <a:ext cx="274320" cy="274320"/>
          </a:xfrm>
          <a:prstGeom prst="mathPlus">
            <a:avLst>
              <a:gd name="adj1" fmla="val 2352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C4845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C4845"/>
              </a:solidFill>
              <a:effectLst/>
              <a:uLnTx/>
              <a:uFillTx/>
              <a:latin typeface="Avenir Next LT Pro" panose="020B0504020202020204" pitchFamily="34" charset="0"/>
              <a:ea typeface="Avenir"/>
              <a:cs typeface="Avenir"/>
              <a:sym typeface="Avenir Next LT Pro" panose="020B0504020202020204" pitchFamily="34" charset="0"/>
            </a:endParaRPr>
          </a:p>
        </p:txBody>
      </p:sp>
      <p:graphicFrame>
        <p:nvGraphicFramePr>
          <p:cNvPr id="96" name="Google Shape;12256;g117094d1d62_7_0">
            <a:extLst>
              <a:ext uri="{FF2B5EF4-FFF2-40B4-BE49-F238E27FC236}">
                <a16:creationId xmlns:a16="http://schemas.microsoft.com/office/drawing/2014/main" id="{1386425C-BFCB-E2CD-539A-20B2B62B584A}"/>
              </a:ext>
            </a:extLst>
          </p:cNvPr>
          <p:cNvGraphicFramePr/>
          <p:nvPr/>
        </p:nvGraphicFramePr>
        <p:xfrm>
          <a:off x="5428529" y="4595806"/>
          <a:ext cx="1879485" cy="185314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5106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ERP &amp; Supply Chain</a:t>
                      </a:r>
                      <a:endParaRPr sz="1200" b="0" i="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Supply Chain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20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ERP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kumimoji="0" sz="12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Arial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Digital Commerce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kumimoji="0" sz="12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Arial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25477"/>
                  </a:ext>
                </a:extLst>
              </a:tr>
            </a:tbl>
          </a:graphicData>
        </a:graphic>
      </p:graphicFrame>
      <p:graphicFrame>
        <p:nvGraphicFramePr>
          <p:cNvPr id="97" name="Google Shape;12256;g117094d1d62_7_0">
            <a:extLst>
              <a:ext uri="{FF2B5EF4-FFF2-40B4-BE49-F238E27FC236}">
                <a16:creationId xmlns:a16="http://schemas.microsoft.com/office/drawing/2014/main" id="{E767168D-BE08-C0E9-5224-CB5A420E48D7}"/>
              </a:ext>
            </a:extLst>
          </p:cNvPr>
          <p:cNvGraphicFramePr/>
          <p:nvPr/>
        </p:nvGraphicFramePr>
        <p:xfrm>
          <a:off x="866958" y="4595806"/>
          <a:ext cx="1554480" cy="146304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85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35%+</a:t>
                      </a:r>
                      <a:endParaRPr sz="1200" b="0" i="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20%-35%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5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0-20%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0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8" name="Google Shape;12256;g117094d1d62_7_0">
            <a:extLst>
              <a:ext uri="{FF2B5EF4-FFF2-40B4-BE49-F238E27FC236}">
                <a16:creationId xmlns:a16="http://schemas.microsoft.com/office/drawing/2014/main" id="{CCBB99B1-3257-D967-59CF-E147EAC01232}"/>
              </a:ext>
            </a:extLst>
          </p:cNvPr>
          <p:cNvGraphicFramePr/>
          <p:nvPr/>
        </p:nvGraphicFramePr>
        <p:xfrm>
          <a:off x="3018320" y="4595806"/>
          <a:ext cx="1836047" cy="159715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19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5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3 priority verticals</a:t>
                      </a:r>
                      <a:endParaRPr sz="1200" b="0" i="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ea typeface="+mn-ea"/>
                        <a:cs typeface="+mn-cs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Top 4-6 </a:t>
                      </a: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priority v</a:t>
                      </a: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erticals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0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All other verticals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9" name="Google Shape;12256;g117094d1d62_7_0">
            <a:extLst>
              <a:ext uri="{FF2B5EF4-FFF2-40B4-BE49-F238E27FC236}">
                <a16:creationId xmlns:a16="http://schemas.microsoft.com/office/drawing/2014/main" id="{60FAEE00-AF60-0F3B-4776-8BA780923A8C}"/>
              </a:ext>
            </a:extLst>
          </p:cNvPr>
          <p:cNvGraphicFramePr/>
          <p:nvPr/>
        </p:nvGraphicFramePr>
        <p:xfrm>
          <a:off x="10078981" y="4595806"/>
          <a:ext cx="1901710" cy="159723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5328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2735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Measure</a:t>
                      </a:r>
                      <a:endParaRPr sz="1200" b="1" u="none" strike="noStrike" cap="none" dirty="0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accent4"/>
                          </a:solidFill>
                          <a:latin typeface="Avenir Next LT Pro" panose="020B0504020202020204" pitchFamily="34" charset="0"/>
                        </a:rPr>
                        <a:t>Pts</a:t>
                      </a:r>
                      <a:endParaRPr sz="1000" b="1" u="none" strike="noStrike" cap="none">
                        <a:solidFill>
                          <a:schemeClr val="accent4"/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 marL="91425" marR="91425" marT="45700" marB="4570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844194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10 priority  countrie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sym typeface="Avenir Next LT Pro" panose="020B0504020202020204" pitchFamily="34" charset="0"/>
                        </a:rPr>
                        <a:t>15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Top 11-25 priority countrie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10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0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Wingdings" panose="05000000000000000000" pitchFamily="2" charset="2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  <a:sym typeface="Avenir Next LT Pro" panose="020B0504020202020204" pitchFamily="34" charset="0"/>
                        </a:rPr>
                        <a:t>All others</a:t>
                      </a:r>
                    </a:p>
                  </a:txBody>
                  <a:tcPr marL="45720" marR="45720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50"/>
                        <a:buFont typeface="Arial"/>
                        <a:buNone/>
                      </a:pPr>
                      <a:r>
                        <a:rPr kumimoji="0" lang="en-US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Arial"/>
                          <a:sym typeface="Avenir Next LT Pro" panose="020B0504020202020204" pitchFamily="34" charset="0"/>
                        </a:rPr>
                        <a:t>5</a:t>
                      </a:r>
                      <a:endParaRPr sz="1200" u="none" strike="noStrike" cap="none" dirty="0">
                        <a:solidFill>
                          <a:schemeClr val="bg1"/>
                        </a:solidFill>
                        <a:latin typeface="Avenir Next LT Pro" panose="020B0504020202020204" pitchFamily="34" charset="0"/>
                        <a:sym typeface="Avenir Next LT Pro" panose="020B0504020202020204" pitchFamily="34" charset="0"/>
                      </a:endParaRPr>
                    </a:p>
                  </a:txBody>
                  <a:tcPr marL="74354" marR="74354" marT="37167" marB="37167" anchor="ctr"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4773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1_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I PPT" id="{C8B3124F-D7F1-4B00-9487-7809426B585B}" vid="{84300F2A-75E3-4916-9BD6-7837F489C09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 xsi:nil="tru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2" ma:contentTypeDescription="Create a new document." ma:contentTypeScope="" ma:versionID="6e5d6c9c5829e93b1e9bab0aa37d09fa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a4f86593e92907eb38362053afadf1e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17DCFA-F8B4-4033-8D84-4EADEACB38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3B5303-C515-46AA-851B-2887D4FD07BD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b71745fe-8e84-41ad-935b-7c5d8babdf9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a3b0eac3-55b5-4ee4-ade7-be65d09c5d6e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8438BDD-6E60-4743-A3E0-4E994B2D71E6}"/>
</file>

<file path=docProps/app.xml><?xml version="1.0" encoding="utf-8"?>
<Properties xmlns="http://schemas.openxmlformats.org/officeDocument/2006/extended-properties" xmlns:vt="http://schemas.openxmlformats.org/officeDocument/2006/docPropsVTypes">
  <Template>SBI PPT</Template>
  <TotalTime>14973</TotalTime>
  <Words>783</Words>
  <Application>Microsoft Office PowerPoint</Application>
  <PresentationFormat>Widescreen</PresentationFormat>
  <Paragraphs>155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venir Next LT Pro</vt:lpstr>
      <vt:lpstr>Avenir</vt:lpstr>
      <vt:lpstr>Courier New</vt:lpstr>
      <vt:lpstr>Arial</vt:lpstr>
      <vt:lpstr>Calibri</vt:lpstr>
      <vt:lpstr>Wingdings</vt:lpstr>
      <vt:lpstr>SBI PPT</vt:lpstr>
      <vt:lpstr>1_SBI PPT</vt:lpstr>
      <vt:lpstr>think-cell Slide</vt:lpstr>
      <vt:lpstr>How to Build Your Ideal Partner Profile (IPP)</vt:lpstr>
      <vt:lpstr>Gather feedback from executives and GTM leaders to identify the critical factors for your Ideal Partner Profile </vt:lpstr>
      <vt:lpstr>Internal feedback from interviews with GTM teams can be interpreted as potential factors for your Ideal Partner Profil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unt Segmentation Process Guide  </dc:title>
  <dc:creator>Jason Telmos</dc:creator>
  <cp:lastModifiedBy>Dave Lingebach</cp:lastModifiedBy>
  <cp:revision>19</cp:revision>
  <dcterms:created xsi:type="dcterms:W3CDTF">2017-07-27T18:18:33Z</dcterms:created>
  <dcterms:modified xsi:type="dcterms:W3CDTF">2023-06-22T18:4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  <property fmtid="{D5CDD505-2E9C-101B-9397-08002B2CF9AE}" pid="3" name="MediaServiceImageTags">
    <vt:lpwstr/>
  </property>
</Properties>
</file>